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888" r:id="rId2"/>
  </p:sldMasterIdLst>
  <p:notesMasterIdLst>
    <p:notesMasterId r:id="rId27"/>
  </p:notesMasterIdLst>
  <p:handoutMasterIdLst>
    <p:handoutMasterId r:id="rId28"/>
  </p:handoutMasterIdLst>
  <p:sldIdLst>
    <p:sldId id="256" r:id="rId3"/>
    <p:sldId id="292" r:id="rId4"/>
    <p:sldId id="459" r:id="rId5"/>
    <p:sldId id="466" r:id="rId6"/>
    <p:sldId id="512" r:id="rId7"/>
    <p:sldId id="506" r:id="rId8"/>
    <p:sldId id="497" r:id="rId9"/>
    <p:sldId id="507" r:id="rId10"/>
    <p:sldId id="473" r:id="rId11"/>
    <p:sldId id="494" r:id="rId12"/>
    <p:sldId id="495" r:id="rId13"/>
    <p:sldId id="508" r:id="rId14"/>
    <p:sldId id="498" r:id="rId15"/>
    <p:sldId id="500" r:id="rId16"/>
    <p:sldId id="502" r:id="rId17"/>
    <p:sldId id="503" r:id="rId18"/>
    <p:sldId id="504" r:id="rId19"/>
    <p:sldId id="505" r:id="rId20"/>
    <p:sldId id="492" r:id="rId21"/>
    <p:sldId id="509" r:id="rId22"/>
    <p:sldId id="486" r:id="rId23"/>
    <p:sldId id="510" r:id="rId24"/>
    <p:sldId id="511" r:id="rId25"/>
    <p:sldId id="484" r:id="rId26"/>
  </p:sldIdLst>
  <p:sldSz cx="9144000" cy="6858000" type="screen4x3"/>
  <p:notesSz cx="7010400" cy="92964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Deloitte Legal" initials="DL HU" lastIdx="7" clrIdx="6">
    <p:extLst>
      <p:ext uri="{19B8F6BF-5375-455C-9EA6-DF929625EA0E}">
        <p15:presenceInfo xmlns:p15="http://schemas.microsoft.com/office/powerpoint/2012/main" userId="Deloitte Legal" providerId="None"/>
      </p:ext>
    </p:extLst>
  </p:cmAuthor>
  <p:cmAuthor id="1" name="Kigyos, Zsuzsa (HU - Budapest)" initials="KZ(-B" lastIdx="41" clrIdx="0">
    <p:extLst/>
  </p:cmAuthor>
  <p:cmAuthor id="8" name="Keszthelyi, Zsofia (HU - Budapest)" initials="KZ(-B" lastIdx="1" clrIdx="7">
    <p:extLst>
      <p:ext uri="{19B8F6BF-5375-455C-9EA6-DF929625EA0E}">
        <p15:presenceInfo xmlns:p15="http://schemas.microsoft.com/office/powerpoint/2012/main" userId="S-1-5-21-2094927150-201071529-617630493-1080215" providerId="AD"/>
      </p:ext>
    </p:extLst>
  </p:cmAuthor>
  <p:cmAuthor id="2" name="Molnar, Zsofia (HU - Budapest)" initials="MZ(-B" lastIdx="20" clrIdx="1">
    <p:extLst/>
  </p:cmAuthor>
  <p:cmAuthor id="3" name="Toth, Tamara (HU - Budapest)" initials="TT(-B" lastIdx="10" clrIdx="2">
    <p:extLst>
      <p:ext uri="{19B8F6BF-5375-455C-9EA6-DF929625EA0E}">
        <p15:presenceInfo xmlns:p15="http://schemas.microsoft.com/office/powerpoint/2012/main" userId="S-1-5-21-2094927150-201071529-617630493-445880" providerId="AD"/>
      </p:ext>
    </p:extLst>
  </p:cmAuthor>
  <p:cmAuthor id="4" name="Deloitte" initials="DTT" lastIdx="42" clrIdx="3">
    <p:extLst>
      <p:ext uri="{19B8F6BF-5375-455C-9EA6-DF929625EA0E}">
        <p15:presenceInfo xmlns:p15="http://schemas.microsoft.com/office/powerpoint/2012/main" userId="Deloitte" providerId="None"/>
      </p:ext>
    </p:extLst>
  </p:cmAuthor>
  <p:cmAuthor id="5" name="Tamas Fuzes" initials="TF" lastIdx="5" clrIdx="4">
    <p:extLst>
      <p:ext uri="{19B8F6BF-5375-455C-9EA6-DF929625EA0E}">
        <p15:presenceInfo xmlns:p15="http://schemas.microsoft.com/office/powerpoint/2012/main" userId="Tamas Fuzes" providerId="None"/>
      </p:ext>
    </p:extLst>
  </p:cmAuthor>
  <p:cmAuthor id="6" name="Szollosi, Zoltan (HU - Budapest)" initials="SZ(-B" lastIdx="7" clrIdx="5">
    <p:extLst>
      <p:ext uri="{19B8F6BF-5375-455C-9EA6-DF929625EA0E}">
        <p15:presenceInfo xmlns:p15="http://schemas.microsoft.com/office/powerpoint/2012/main" userId="S-1-5-21-2094927150-201071529-617630493-4587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EFF9FF"/>
    <a:srgbClr val="F3FAFF"/>
    <a:srgbClr val="CCECFF"/>
    <a:srgbClr val="EBF9FF"/>
    <a:srgbClr val="FFFF99"/>
    <a:srgbClr val="009A44"/>
    <a:srgbClr val="FF7C80"/>
    <a:srgbClr val="0097A9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70" autoAdjust="0"/>
    <p:restoredTop sz="78911" autoAdjust="0"/>
  </p:normalViewPr>
  <p:slideViewPr>
    <p:cSldViewPr snapToGrid="0">
      <p:cViewPr varScale="1">
        <p:scale>
          <a:sx n="95" d="100"/>
          <a:sy n="95" d="100"/>
        </p:scale>
        <p:origin x="1176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732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Egyetem\Articles%20by%20me\Komplex%20vizsga\ppt\egy&#233;b\multiTimeline%20(1).csv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multiTimeline (1)'!$B$4</c:f>
              <c:strCache>
                <c:ptCount val="1"/>
                <c:pt idx="0">
                  <c:v>Mesterséges Intelligencia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multiTimeline (1)'!$A$5:$A$70</c:f>
              <c:numCache>
                <c:formatCode>[$-40E]yyyy/\ mmmm;@</c:formatCode>
                <c:ptCount val="66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</c:numCache>
            </c:numRef>
          </c:cat>
          <c:val>
            <c:numRef>
              <c:f>'multiTimeline (1)'!$B$5:$B$70</c:f>
              <c:numCache>
                <c:formatCode>General</c:formatCode>
                <c:ptCount val="66"/>
                <c:pt idx="0">
                  <c:v>20</c:v>
                </c:pt>
                <c:pt idx="1">
                  <c:v>23</c:v>
                </c:pt>
                <c:pt idx="2">
                  <c:v>22</c:v>
                </c:pt>
                <c:pt idx="3">
                  <c:v>22</c:v>
                </c:pt>
                <c:pt idx="4">
                  <c:v>20</c:v>
                </c:pt>
                <c:pt idx="5">
                  <c:v>19</c:v>
                </c:pt>
                <c:pt idx="6">
                  <c:v>17</c:v>
                </c:pt>
                <c:pt idx="7">
                  <c:v>18</c:v>
                </c:pt>
                <c:pt idx="8">
                  <c:v>21</c:v>
                </c:pt>
                <c:pt idx="9">
                  <c:v>21</c:v>
                </c:pt>
                <c:pt idx="10">
                  <c:v>21</c:v>
                </c:pt>
                <c:pt idx="11">
                  <c:v>20</c:v>
                </c:pt>
                <c:pt idx="12">
                  <c:v>22</c:v>
                </c:pt>
                <c:pt idx="13">
                  <c:v>23</c:v>
                </c:pt>
                <c:pt idx="14">
                  <c:v>22</c:v>
                </c:pt>
                <c:pt idx="15">
                  <c:v>21</c:v>
                </c:pt>
                <c:pt idx="16">
                  <c:v>23</c:v>
                </c:pt>
                <c:pt idx="17">
                  <c:v>19</c:v>
                </c:pt>
                <c:pt idx="18">
                  <c:v>19</c:v>
                </c:pt>
                <c:pt idx="19">
                  <c:v>21</c:v>
                </c:pt>
                <c:pt idx="20">
                  <c:v>22</c:v>
                </c:pt>
                <c:pt idx="21">
                  <c:v>22</c:v>
                </c:pt>
                <c:pt idx="22">
                  <c:v>26</c:v>
                </c:pt>
                <c:pt idx="23">
                  <c:v>25</c:v>
                </c:pt>
                <c:pt idx="24">
                  <c:v>25</c:v>
                </c:pt>
                <c:pt idx="25">
                  <c:v>27</c:v>
                </c:pt>
                <c:pt idx="26">
                  <c:v>28</c:v>
                </c:pt>
                <c:pt idx="27">
                  <c:v>26</c:v>
                </c:pt>
                <c:pt idx="28">
                  <c:v>30</c:v>
                </c:pt>
                <c:pt idx="29">
                  <c:v>27</c:v>
                </c:pt>
                <c:pt idx="30">
                  <c:v>28</c:v>
                </c:pt>
                <c:pt idx="31">
                  <c:v>26</c:v>
                </c:pt>
                <c:pt idx="32">
                  <c:v>29</c:v>
                </c:pt>
                <c:pt idx="33">
                  <c:v>28</c:v>
                </c:pt>
                <c:pt idx="34">
                  <c:v>32</c:v>
                </c:pt>
                <c:pt idx="35">
                  <c:v>28</c:v>
                </c:pt>
                <c:pt idx="36">
                  <c:v>31</c:v>
                </c:pt>
                <c:pt idx="37">
                  <c:v>30</c:v>
                </c:pt>
                <c:pt idx="38">
                  <c:v>35</c:v>
                </c:pt>
                <c:pt idx="39">
                  <c:v>32</c:v>
                </c:pt>
                <c:pt idx="40">
                  <c:v>32</c:v>
                </c:pt>
                <c:pt idx="41">
                  <c:v>29</c:v>
                </c:pt>
                <c:pt idx="42">
                  <c:v>26</c:v>
                </c:pt>
                <c:pt idx="43">
                  <c:v>26</c:v>
                </c:pt>
                <c:pt idx="44">
                  <c:v>32</c:v>
                </c:pt>
                <c:pt idx="45">
                  <c:v>39</c:v>
                </c:pt>
                <c:pt idx="46">
                  <c:v>38</c:v>
                </c:pt>
                <c:pt idx="47">
                  <c:v>36</c:v>
                </c:pt>
                <c:pt idx="48">
                  <c:v>38</c:v>
                </c:pt>
                <c:pt idx="49">
                  <c:v>42</c:v>
                </c:pt>
                <c:pt idx="50">
                  <c:v>43</c:v>
                </c:pt>
                <c:pt idx="51">
                  <c:v>44</c:v>
                </c:pt>
                <c:pt idx="52">
                  <c:v>48</c:v>
                </c:pt>
                <c:pt idx="53">
                  <c:v>39</c:v>
                </c:pt>
                <c:pt idx="54">
                  <c:v>44</c:v>
                </c:pt>
                <c:pt idx="55">
                  <c:v>52</c:v>
                </c:pt>
                <c:pt idx="56">
                  <c:v>55</c:v>
                </c:pt>
                <c:pt idx="57">
                  <c:v>60</c:v>
                </c:pt>
                <c:pt idx="58">
                  <c:v>65</c:v>
                </c:pt>
                <c:pt idx="59">
                  <c:v>59</c:v>
                </c:pt>
                <c:pt idx="60">
                  <c:v>70</c:v>
                </c:pt>
                <c:pt idx="61">
                  <c:v>67</c:v>
                </c:pt>
                <c:pt idx="62">
                  <c:v>60</c:v>
                </c:pt>
                <c:pt idx="63">
                  <c:v>63</c:v>
                </c:pt>
                <c:pt idx="64">
                  <c:v>62</c:v>
                </c:pt>
                <c:pt idx="65">
                  <c:v>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BD-488D-8BC0-1F8BA63B1D1C}"/>
            </c:ext>
          </c:extLst>
        </c:ser>
        <c:ser>
          <c:idx val="1"/>
          <c:order val="1"/>
          <c:tx>
            <c:strRef>
              <c:f>'multiTimeline (1)'!$C$4</c:f>
              <c:strCache>
                <c:ptCount val="1"/>
                <c:pt idx="0">
                  <c:v>Gépi Tanulás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multiTimeline (1)'!$A$5:$A$70</c:f>
              <c:numCache>
                <c:formatCode>[$-40E]yyyy/\ mmmm;@</c:formatCode>
                <c:ptCount val="66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</c:numCache>
            </c:numRef>
          </c:cat>
          <c:val>
            <c:numRef>
              <c:f>'multiTimeline (1)'!$C$5:$C$70</c:f>
              <c:numCache>
                <c:formatCode>General</c:formatCode>
                <c:ptCount val="66"/>
                <c:pt idx="0">
                  <c:v>14</c:v>
                </c:pt>
                <c:pt idx="1">
                  <c:v>14</c:v>
                </c:pt>
                <c:pt idx="2">
                  <c:v>14</c:v>
                </c:pt>
                <c:pt idx="3">
                  <c:v>16</c:v>
                </c:pt>
                <c:pt idx="4">
                  <c:v>15</c:v>
                </c:pt>
                <c:pt idx="5">
                  <c:v>14</c:v>
                </c:pt>
                <c:pt idx="6">
                  <c:v>14</c:v>
                </c:pt>
                <c:pt idx="7">
                  <c:v>13</c:v>
                </c:pt>
                <c:pt idx="8">
                  <c:v>16</c:v>
                </c:pt>
                <c:pt idx="9">
                  <c:v>18</c:v>
                </c:pt>
                <c:pt idx="10">
                  <c:v>19</c:v>
                </c:pt>
                <c:pt idx="11">
                  <c:v>17</c:v>
                </c:pt>
                <c:pt idx="12">
                  <c:v>17</c:v>
                </c:pt>
                <c:pt idx="13">
                  <c:v>19</c:v>
                </c:pt>
                <c:pt idx="14">
                  <c:v>20</c:v>
                </c:pt>
                <c:pt idx="15">
                  <c:v>21</c:v>
                </c:pt>
                <c:pt idx="16">
                  <c:v>18</c:v>
                </c:pt>
                <c:pt idx="17">
                  <c:v>19</c:v>
                </c:pt>
                <c:pt idx="18">
                  <c:v>19</c:v>
                </c:pt>
                <c:pt idx="19">
                  <c:v>19</c:v>
                </c:pt>
                <c:pt idx="20">
                  <c:v>23</c:v>
                </c:pt>
                <c:pt idx="21">
                  <c:v>23</c:v>
                </c:pt>
                <c:pt idx="22">
                  <c:v>24</c:v>
                </c:pt>
                <c:pt idx="23">
                  <c:v>22</c:v>
                </c:pt>
                <c:pt idx="24">
                  <c:v>23</c:v>
                </c:pt>
                <c:pt idx="25">
                  <c:v>25</c:v>
                </c:pt>
                <c:pt idx="26">
                  <c:v>26</c:v>
                </c:pt>
                <c:pt idx="27">
                  <c:v>28</c:v>
                </c:pt>
                <c:pt idx="28">
                  <c:v>28</c:v>
                </c:pt>
                <c:pt idx="29">
                  <c:v>28</c:v>
                </c:pt>
                <c:pt idx="30">
                  <c:v>27</c:v>
                </c:pt>
                <c:pt idx="31">
                  <c:v>27</c:v>
                </c:pt>
                <c:pt idx="32">
                  <c:v>31</c:v>
                </c:pt>
                <c:pt idx="33">
                  <c:v>33</c:v>
                </c:pt>
                <c:pt idx="34">
                  <c:v>36</c:v>
                </c:pt>
                <c:pt idx="35">
                  <c:v>35</c:v>
                </c:pt>
                <c:pt idx="36">
                  <c:v>34</c:v>
                </c:pt>
                <c:pt idx="37">
                  <c:v>38</c:v>
                </c:pt>
                <c:pt idx="38">
                  <c:v>40</c:v>
                </c:pt>
                <c:pt idx="39">
                  <c:v>41</c:v>
                </c:pt>
                <c:pt idx="40">
                  <c:v>40</c:v>
                </c:pt>
                <c:pt idx="41">
                  <c:v>42</c:v>
                </c:pt>
                <c:pt idx="42">
                  <c:v>38</c:v>
                </c:pt>
                <c:pt idx="43">
                  <c:v>43</c:v>
                </c:pt>
                <c:pt idx="44">
                  <c:v>47</c:v>
                </c:pt>
                <c:pt idx="45">
                  <c:v>50</c:v>
                </c:pt>
                <c:pt idx="46">
                  <c:v>57</c:v>
                </c:pt>
                <c:pt idx="47">
                  <c:v>56</c:v>
                </c:pt>
                <c:pt idx="48">
                  <c:v>62</c:v>
                </c:pt>
                <c:pt idx="49">
                  <c:v>67</c:v>
                </c:pt>
                <c:pt idx="50">
                  <c:v>73</c:v>
                </c:pt>
                <c:pt idx="51">
                  <c:v>74</c:v>
                </c:pt>
                <c:pt idx="52">
                  <c:v>77</c:v>
                </c:pt>
                <c:pt idx="53">
                  <c:v>80</c:v>
                </c:pt>
                <c:pt idx="54">
                  <c:v>73</c:v>
                </c:pt>
                <c:pt idx="55">
                  <c:v>78</c:v>
                </c:pt>
                <c:pt idx="56">
                  <c:v>82</c:v>
                </c:pt>
                <c:pt idx="57">
                  <c:v>92</c:v>
                </c:pt>
                <c:pt idx="58">
                  <c:v>95</c:v>
                </c:pt>
                <c:pt idx="59">
                  <c:v>88</c:v>
                </c:pt>
                <c:pt idx="60">
                  <c:v>91</c:v>
                </c:pt>
                <c:pt idx="61">
                  <c:v>94</c:v>
                </c:pt>
                <c:pt idx="62">
                  <c:v>99</c:v>
                </c:pt>
                <c:pt idx="63">
                  <c:v>98</c:v>
                </c:pt>
                <c:pt idx="64">
                  <c:v>100</c:v>
                </c:pt>
                <c:pt idx="65">
                  <c:v>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BD-488D-8BC0-1F8BA63B1D1C}"/>
            </c:ext>
          </c:extLst>
        </c:ser>
        <c:ser>
          <c:idx val="2"/>
          <c:order val="2"/>
          <c:tx>
            <c:strRef>
              <c:f>'multiTimeline (1)'!$D$4</c:f>
              <c:strCache>
                <c:ptCount val="1"/>
                <c:pt idx="0">
                  <c:v>Kiberbiztonság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multiTimeline (1)'!$A$5:$A$70</c:f>
              <c:numCache>
                <c:formatCode>[$-40E]yyyy/\ mmmm;@</c:formatCode>
                <c:ptCount val="66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</c:numCache>
            </c:numRef>
          </c:cat>
          <c:val>
            <c:numRef>
              <c:f>'multiTimeline (1)'!$D$5:$D$70</c:f>
              <c:numCache>
                <c:formatCode>General</c:formatCode>
                <c:ptCount val="66"/>
                <c:pt idx="0">
                  <c:v>10</c:v>
                </c:pt>
                <c:pt idx="1">
                  <c:v>15</c:v>
                </c:pt>
                <c:pt idx="2">
                  <c:v>14</c:v>
                </c:pt>
                <c:pt idx="3">
                  <c:v>15</c:v>
                </c:pt>
                <c:pt idx="4">
                  <c:v>14</c:v>
                </c:pt>
                <c:pt idx="5">
                  <c:v>14</c:v>
                </c:pt>
                <c:pt idx="6">
                  <c:v>16</c:v>
                </c:pt>
                <c:pt idx="7">
                  <c:v>14</c:v>
                </c:pt>
                <c:pt idx="8">
                  <c:v>15</c:v>
                </c:pt>
                <c:pt idx="9">
                  <c:v>15</c:v>
                </c:pt>
                <c:pt idx="10">
                  <c:v>14</c:v>
                </c:pt>
                <c:pt idx="11">
                  <c:v>13</c:v>
                </c:pt>
                <c:pt idx="12">
                  <c:v>15</c:v>
                </c:pt>
                <c:pt idx="13">
                  <c:v>16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6</c:v>
                </c:pt>
                <c:pt idx="20">
                  <c:v>19</c:v>
                </c:pt>
                <c:pt idx="21">
                  <c:v>20</c:v>
                </c:pt>
                <c:pt idx="22">
                  <c:v>19</c:v>
                </c:pt>
                <c:pt idx="23">
                  <c:v>18</c:v>
                </c:pt>
                <c:pt idx="24">
                  <c:v>21</c:v>
                </c:pt>
                <c:pt idx="25">
                  <c:v>26</c:v>
                </c:pt>
                <c:pt idx="26">
                  <c:v>25</c:v>
                </c:pt>
                <c:pt idx="27">
                  <c:v>25</c:v>
                </c:pt>
                <c:pt idx="28">
                  <c:v>22</c:v>
                </c:pt>
                <c:pt idx="29">
                  <c:v>25</c:v>
                </c:pt>
                <c:pt idx="30">
                  <c:v>26</c:v>
                </c:pt>
                <c:pt idx="31">
                  <c:v>24</c:v>
                </c:pt>
                <c:pt idx="32">
                  <c:v>27</c:v>
                </c:pt>
                <c:pt idx="33">
                  <c:v>29</c:v>
                </c:pt>
                <c:pt idx="34">
                  <c:v>29</c:v>
                </c:pt>
                <c:pt idx="35">
                  <c:v>25</c:v>
                </c:pt>
                <c:pt idx="36">
                  <c:v>26</c:v>
                </c:pt>
                <c:pt idx="37">
                  <c:v>30</c:v>
                </c:pt>
                <c:pt idx="38">
                  <c:v>28</c:v>
                </c:pt>
                <c:pt idx="39">
                  <c:v>29</c:v>
                </c:pt>
                <c:pt idx="40">
                  <c:v>27</c:v>
                </c:pt>
                <c:pt idx="41">
                  <c:v>28</c:v>
                </c:pt>
                <c:pt idx="42">
                  <c:v>27</c:v>
                </c:pt>
                <c:pt idx="43">
                  <c:v>29</c:v>
                </c:pt>
                <c:pt idx="44">
                  <c:v>34</c:v>
                </c:pt>
                <c:pt idx="45">
                  <c:v>38</c:v>
                </c:pt>
                <c:pt idx="46">
                  <c:v>37</c:v>
                </c:pt>
                <c:pt idx="47">
                  <c:v>31</c:v>
                </c:pt>
                <c:pt idx="48">
                  <c:v>39</c:v>
                </c:pt>
                <c:pt idx="49">
                  <c:v>41</c:v>
                </c:pt>
                <c:pt idx="50">
                  <c:v>39</c:v>
                </c:pt>
                <c:pt idx="51">
                  <c:v>39</c:v>
                </c:pt>
                <c:pt idx="52">
                  <c:v>47</c:v>
                </c:pt>
                <c:pt idx="53">
                  <c:v>42</c:v>
                </c:pt>
                <c:pt idx="54">
                  <c:v>42</c:v>
                </c:pt>
                <c:pt idx="55">
                  <c:v>42</c:v>
                </c:pt>
                <c:pt idx="56">
                  <c:v>45</c:v>
                </c:pt>
                <c:pt idx="57">
                  <c:v>51</c:v>
                </c:pt>
                <c:pt idx="58">
                  <c:v>50</c:v>
                </c:pt>
                <c:pt idx="59">
                  <c:v>41</c:v>
                </c:pt>
                <c:pt idx="60">
                  <c:v>46</c:v>
                </c:pt>
                <c:pt idx="61">
                  <c:v>48</c:v>
                </c:pt>
                <c:pt idx="62">
                  <c:v>45</c:v>
                </c:pt>
                <c:pt idx="63">
                  <c:v>49</c:v>
                </c:pt>
                <c:pt idx="64">
                  <c:v>48</c:v>
                </c:pt>
                <c:pt idx="65">
                  <c:v>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BD-488D-8BC0-1F8BA63B1D1C}"/>
            </c:ext>
          </c:extLst>
        </c:ser>
        <c:ser>
          <c:idx val="3"/>
          <c:order val="3"/>
          <c:tx>
            <c:strRef>
              <c:f>'multiTimeline (1)'!$E$4</c:f>
              <c:strCache>
                <c:ptCount val="1"/>
                <c:pt idx="0">
                  <c:v>IT Biztonság</c:v>
                </c:pt>
              </c:strCache>
            </c:strRef>
          </c:tx>
          <c:spPr>
            <a:ln w="38100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'multiTimeline (1)'!$A$5:$A$70</c:f>
              <c:numCache>
                <c:formatCode>[$-40E]yyyy/\ mmmm;@</c:formatCode>
                <c:ptCount val="66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</c:numCache>
            </c:numRef>
          </c:cat>
          <c:val>
            <c:numRef>
              <c:f>'multiTimeline (1)'!$E$5:$E$70</c:f>
              <c:numCache>
                <c:formatCode>General</c:formatCode>
                <c:ptCount val="66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31</c:v>
                </c:pt>
                <c:pt idx="4">
                  <c:v>28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8</c:v>
                </c:pt>
                <c:pt idx="9">
                  <c:v>29</c:v>
                </c:pt>
                <c:pt idx="10">
                  <c:v>28</c:v>
                </c:pt>
                <c:pt idx="11">
                  <c:v>26</c:v>
                </c:pt>
                <c:pt idx="12">
                  <c:v>28</c:v>
                </c:pt>
                <c:pt idx="13">
                  <c:v>29</c:v>
                </c:pt>
                <c:pt idx="14">
                  <c:v>30</c:v>
                </c:pt>
                <c:pt idx="15">
                  <c:v>29</c:v>
                </c:pt>
                <c:pt idx="16">
                  <c:v>27</c:v>
                </c:pt>
                <c:pt idx="17">
                  <c:v>29</c:v>
                </c:pt>
                <c:pt idx="18">
                  <c:v>29</c:v>
                </c:pt>
                <c:pt idx="19">
                  <c:v>26</c:v>
                </c:pt>
                <c:pt idx="20">
                  <c:v>30</c:v>
                </c:pt>
                <c:pt idx="21">
                  <c:v>30</c:v>
                </c:pt>
                <c:pt idx="22">
                  <c:v>29</c:v>
                </c:pt>
                <c:pt idx="23">
                  <c:v>27</c:v>
                </c:pt>
                <c:pt idx="24">
                  <c:v>28</c:v>
                </c:pt>
                <c:pt idx="25">
                  <c:v>31</c:v>
                </c:pt>
                <c:pt idx="26">
                  <c:v>30</c:v>
                </c:pt>
                <c:pt idx="27">
                  <c:v>30</c:v>
                </c:pt>
                <c:pt idx="28">
                  <c:v>28</c:v>
                </c:pt>
                <c:pt idx="29">
                  <c:v>29</c:v>
                </c:pt>
                <c:pt idx="30">
                  <c:v>29</c:v>
                </c:pt>
                <c:pt idx="31">
                  <c:v>29</c:v>
                </c:pt>
                <c:pt idx="32">
                  <c:v>31</c:v>
                </c:pt>
                <c:pt idx="33">
                  <c:v>31</c:v>
                </c:pt>
                <c:pt idx="34">
                  <c:v>31</c:v>
                </c:pt>
                <c:pt idx="35">
                  <c:v>29</c:v>
                </c:pt>
                <c:pt idx="36">
                  <c:v>29</c:v>
                </c:pt>
                <c:pt idx="37">
                  <c:v>34</c:v>
                </c:pt>
                <c:pt idx="38">
                  <c:v>32</c:v>
                </c:pt>
                <c:pt idx="39">
                  <c:v>32</c:v>
                </c:pt>
                <c:pt idx="40">
                  <c:v>32</c:v>
                </c:pt>
                <c:pt idx="41">
                  <c:v>31</c:v>
                </c:pt>
                <c:pt idx="42">
                  <c:v>28</c:v>
                </c:pt>
                <c:pt idx="43">
                  <c:v>29</c:v>
                </c:pt>
                <c:pt idx="44">
                  <c:v>30</c:v>
                </c:pt>
                <c:pt idx="45">
                  <c:v>31</c:v>
                </c:pt>
                <c:pt idx="46">
                  <c:v>32</c:v>
                </c:pt>
                <c:pt idx="47">
                  <c:v>29</c:v>
                </c:pt>
                <c:pt idx="48">
                  <c:v>33</c:v>
                </c:pt>
                <c:pt idx="49">
                  <c:v>36</c:v>
                </c:pt>
                <c:pt idx="50">
                  <c:v>37</c:v>
                </c:pt>
                <c:pt idx="51">
                  <c:v>35</c:v>
                </c:pt>
                <c:pt idx="52">
                  <c:v>34</c:v>
                </c:pt>
                <c:pt idx="53">
                  <c:v>33</c:v>
                </c:pt>
                <c:pt idx="54">
                  <c:v>32</c:v>
                </c:pt>
                <c:pt idx="55">
                  <c:v>30</c:v>
                </c:pt>
                <c:pt idx="56">
                  <c:v>33</c:v>
                </c:pt>
                <c:pt idx="57">
                  <c:v>35</c:v>
                </c:pt>
                <c:pt idx="58">
                  <c:v>33</c:v>
                </c:pt>
                <c:pt idx="59">
                  <c:v>30</c:v>
                </c:pt>
                <c:pt idx="60">
                  <c:v>32</c:v>
                </c:pt>
                <c:pt idx="61">
                  <c:v>35</c:v>
                </c:pt>
                <c:pt idx="62">
                  <c:v>34</c:v>
                </c:pt>
                <c:pt idx="63">
                  <c:v>34</c:v>
                </c:pt>
                <c:pt idx="64">
                  <c:v>33</c:v>
                </c:pt>
                <c:pt idx="65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BD-488D-8BC0-1F8BA63B1D1C}"/>
            </c:ext>
          </c:extLst>
        </c:ser>
        <c:ser>
          <c:idx val="4"/>
          <c:order val="4"/>
          <c:tx>
            <c:strRef>
              <c:f>'multiTimeline (1)'!$F$4</c:f>
              <c:strCache>
                <c:ptCount val="1"/>
                <c:pt idx="0">
                  <c:v>Többváltozós Statisztika</c:v>
                </c:pt>
              </c:strCache>
            </c:strRef>
          </c:tx>
          <c:spPr>
            <a:ln w="38100" cap="rnd">
              <a:solidFill>
                <a:srgbClr val="ED8B00"/>
              </a:solidFill>
              <a:round/>
            </a:ln>
            <a:effectLst/>
          </c:spPr>
          <c:marker>
            <c:symbol val="none"/>
          </c:marker>
          <c:cat>
            <c:numRef>
              <c:f>'multiTimeline (1)'!$A$5:$A$70</c:f>
              <c:numCache>
                <c:formatCode>[$-40E]yyyy/\ mmmm;@</c:formatCode>
                <c:ptCount val="66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</c:numCache>
            </c:numRef>
          </c:cat>
          <c:val>
            <c:numRef>
              <c:f>'multiTimeline (1)'!$F$5:$F$70</c:f>
              <c:numCache>
                <c:formatCode>General</c:formatCode>
                <c:ptCount val="66"/>
                <c:pt idx="0">
                  <c:v>12</c:v>
                </c:pt>
                <c:pt idx="1">
                  <c:v>13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2</c:v>
                </c:pt>
                <c:pt idx="6">
                  <c:v>11</c:v>
                </c:pt>
                <c:pt idx="7">
                  <c:v>10</c:v>
                </c:pt>
                <c:pt idx="8">
                  <c:v>11</c:v>
                </c:pt>
                <c:pt idx="9">
                  <c:v>13</c:v>
                </c:pt>
                <c:pt idx="10">
                  <c:v>13</c:v>
                </c:pt>
                <c:pt idx="11">
                  <c:v>11</c:v>
                </c:pt>
                <c:pt idx="12">
                  <c:v>11</c:v>
                </c:pt>
                <c:pt idx="13">
                  <c:v>12</c:v>
                </c:pt>
                <c:pt idx="14">
                  <c:v>12</c:v>
                </c:pt>
                <c:pt idx="15">
                  <c:v>13</c:v>
                </c:pt>
                <c:pt idx="16">
                  <c:v>13</c:v>
                </c:pt>
                <c:pt idx="17">
                  <c:v>12</c:v>
                </c:pt>
                <c:pt idx="18">
                  <c:v>10</c:v>
                </c:pt>
                <c:pt idx="19">
                  <c:v>10</c:v>
                </c:pt>
                <c:pt idx="20">
                  <c:v>12</c:v>
                </c:pt>
                <c:pt idx="21">
                  <c:v>12</c:v>
                </c:pt>
                <c:pt idx="22">
                  <c:v>12</c:v>
                </c:pt>
                <c:pt idx="23">
                  <c:v>11</c:v>
                </c:pt>
                <c:pt idx="24">
                  <c:v>10</c:v>
                </c:pt>
                <c:pt idx="25">
                  <c:v>13</c:v>
                </c:pt>
                <c:pt idx="26">
                  <c:v>12</c:v>
                </c:pt>
                <c:pt idx="27">
                  <c:v>12</c:v>
                </c:pt>
                <c:pt idx="28">
                  <c:v>11</c:v>
                </c:pt>
                <c:pt idx="29">
                  <c:v>12</c:v>
                </c:pt>
                <c:pt idx="30">
                  <c:v>10</c:v>
                </c:pt>
                <c:pt idx="31">
                  <c:v>9</c:v>
                </c:pt>
                <c:pt idx="32">
                  <c:v>11</c:v>
                </c:pt>
                <c:pt idx="33">
                  <c:v>12</c:v>
                </c:pt>
                <c:pt idx="34">
                  <c:v>12</c:v>
                </c:pt>
                <c:pt idx="35">
                  <c:v>10</c:v>
                </c:pt>
                <c:pt idx="36">
                  <c:v>10</c:v>
                </c:pt>
                <c:pt idx="37">
                  <c:v>11</c:v>
                </c:pt>
                <c:pt idx="38">
                  <c:v>11</c:v>
                </c:pt>
                <c:pt idx="39">
                  <c:v>13</c:v>
                </c:pt>
                <c:pt idx="40">
                  <c:v>11</c:v>
                </c:pt>
                <c:pt idx="41">
                  <c:v>11</c:v>
                </c:pt>
                <c:pt idx="42">
                  <c:v>8</c:v>
                </c:pt>
                <c:pt idx="43">
                  <c:v>9</c:v>
                </c:pt>
                <c:pt idx="44">
                  <c:v>10</c:v>
                </c:pt>
                <c:pt idx="45">
                  <c:v>11</c:v>
                </c:pt>
                <c:pt idx="46">
                  <c:v>12</c:v>
                </c:pt>
                <c:pt idx="47">
                  <c:v>10</c:v>
                </c:pt>
                <c:pt idx="48">
                  <c:v>11</c:v>
                </c:pt>
                <c:pt idx="49">
                  <c:v>12</c:v>
                </c:pt>
                <c:pt idx="50">
                  <c:v>13</c:v>
                </c:pt>
                <c:pt idx="51">
                  <c:v>13</c:v>
                </c:pt>
                <c:pt idx="52">
                  <c:v>12</c:v>
                </c:pt>
                <c:pt idx="53">
                  <c:v>10</c:v>
                </c:pt>
                <c:pt idx="54">
                  <c:v>9</c:v>
                </c:pt>
                <c:pt idx="55">
                  <c:v>9</c:v>
                </c:pt>
                <c:pt idx="56">
                  <c:v>11</c:v>
                </c:pt>
                <c:pt idx="57">
                  <c:v>12</c:v>
                </c:pt>
                <c:pt idx="58">
                  <c:v>12</c:v>
                </c:pt>
                <c:pt idx="59">
                  <c:v>10</c:v>
                </c:pt>
                <c:pt idx="60">
                  <c:v>10</c:v>
                </c:pt>
                <c:pt idx="61">
                  <c:v>12</c:v>
                </c:pt>
                <c:pt idx="62">
                  <c:v>12</c:v>
                </c:pt>
                <c:pt idx="63">
                  <c:v>11</c:v>
                </c:pt>
                <c:pt idx="64">
                  <c:v>11</c:v>
                </c:pt>
                <c:pt idx="65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2BD-488D-8BC0-1F8BA63B1D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3628816"/>
        <c:axId val="315074464"/>
      </c:lineChart>
      <c:dateAx>
        <c:axId val="313628816"/>
        <c:scaling>
          <c:orientation val="minMax"/>
        </c:scaling>
        <c:delete val="0"/>
        <c:axPos val="b"/>
        <c:numFmt formatCode="[$-40E]yyyy/\ mmmm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hu-HU"/>
          </a:p>
        </c:txPr>
        <c:crossAx val="315074464"/>
        <c:crosses val="autoZero"/>
        <c:auto val="1"/>
        <c:lblOffset val="100"/>
        <c:baseTimeUnit val="months"/>
        <c:majorUnit val="1"/>
        <c:majorTimeUnit val="years"/>
      </c:dateAx>
      <c:valAx>
        <c:axId val="31507446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hu-HU"/>
          </a:p>
        </c:txPr>
        <c:crossAx val="313628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0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40EB156-DC6D-45C6-BC60-72F14E43293C}" type="datetime1">
              <a:rPr lang="hu-HU" smtClean="0"/>
              <a:t>2018.06.23.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B5485A5-1E2B-4057-A299-4350246D0B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1470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07E9E62-235E-4905-BF05-1580411FCCD2}" type="datetime1">
              <a:rPr lang="hu-HU" smtClean="0"/>
              <a:t>2018.06.23.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6C09748-15B1-4B90-AFFB-FD82A3633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55803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C09748-15B1-4B90-AFFB-FD82A36330C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9388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C09748-15B1-4B90-AFFB-FD82A36330C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8556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Kroll kutatásából az derül</a:t>
            </a:r>
            <a:r>
              <a:rPr lang="hu-HU" baseline="0" dirty="0" smtClean="0"/>
              <a:t> ki, hogy a belső csalások elkövetése növekvő tendenciát mutat, ami azért veszélyes, mert a belső felhasználók eleve hozzáféréssel rendelkezhetnek a rendszerhez.</a:t>
            </a:r>
            <a:endParaRPr lang="hu-H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C09748-15B1-4B90-AFFB-FD82A36330CB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981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Kroll kutatásából az derül</a:t>
            </a:r>
            <a:r>
              <a:rPr lang="hu-HU" baseline="0" dirty="0" smtClean="0"/>
              <a:t> ki, hogy a belső csalások elkövetése növekvő tendenciát mutat, ami azért veszélyes, mert a belső felhasználók eleve hozzáféréssel rendelkezhetnek a rendszerhez.</a:t>
            </a:r>
            <a:endParaRPr lang="hu-H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© 2017 Deloitte Magyarország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C09748-15B1-4B90-AFFB-FD82A36330CB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533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9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46580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37665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1463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9482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0103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27498163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83779324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0795662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415038226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60468738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7620455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27788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96605867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97749549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11856895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43842417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69730588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19371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39094719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410598156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58189660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chemeClr val="bg2">
                    <a:lumMod val="75000"/>
                  </a:scheme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5144437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3976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0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693" indent="-266693">
              <a:buFont typeface="Arial" pitchFamily="34" charset="0"/>
              <a:buChar char="•"/>
              <a:tabLst/>
              <a:defRPr/>
            </a:lvl2pPr>
            <a:lvl3pPr marL="266693" indent="-266693">
              <a:buFont typeface="Arial" pitchFamily="34" charset="0"/>
              <a:buChar char="•"/>
              <a:defRPr i="1"/>
            </a:lvl3pPr>
            <a:lvl4pPr marL="539737" indent="-273044">
              <a:buFont typeface="Arial" pitchFamily="34" charset="0"/>
              <a:buChar char="−"/>
              <a:defRPr i="0"/>
            </a:lvl4pPr>
            <a:lvl5pPr marL="806431" indent="-26669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257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9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32920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603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400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277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3508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351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63431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45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9918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 2017 Deloitte </a:t>
            </a:r>
            <a:r>
              <a:rPr lang="en-GB" dirty="0" err="1" smtClean="0"/>
              <a:t>Magyarorszá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417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9226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4338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7590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5783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294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2182171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25730505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121918856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01616385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66352081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5965667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16353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58900799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5656441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56028174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33402892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25136351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47212" y="0"/>
            <a:ext cx="159678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  <a:buFont typeface="Arial"/>
              <a:buNone/>
            </a:pPr>
            <a:r>
              <a:rPr lang="hu-HU" dirty="0" smtClean="0">
                <a:solidFill>
                  <a:srgbClr val="E7E6E6">
                    <a:lumMod val="75000"/>
                  </a:srgbClr>
                </a:solidFill>
              </a:rPr>
              <a:t>Tervezet</a:t>
            </a:r>
          </a:p>
        </p:txBody>
      </p:sp>
    </p:spTree>
    <p:extLst>
      <p:ext uri="{BB962C8B-B14F-4D97-AF65-F5344CB8AC3E}">
        <p14:creationId xmlns:p14="http://schemas.microsoft.com/office/powerpoint/2010/main" val="306011916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211358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69491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01627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252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89591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69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693" indent="-266693">
              <a:buFont typeface="Arial" pitchFamily="34" charset="0"/>
              <a:buChar char="•"/>
              <a:tabLst/>
              <a:defRPr/>
            </a:lvl2pPr>
            <a:lvl3pPr marL="266693" indent="-266693">
              <a:buFont typeface="Arial" pitchFamily="34" charset="0"/>
              <a:buChar char="•"/>
              <a:defRPr i="1"/>
            </a:lvl3pPr>
            <a:lvl4pPr marL="539737" indent="-273044">
              <a:buFont typeface="Arial" pitchFamily="34" charset="0"/>
              <a:buChar char="−"/>
              <a:defRPr i="0"/>
            </a:lvl4pPr>
            <a:lvl5pPr marL="806431" indent="-26669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95683"/>
            <a:ext cx="8388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765175"/>
            <a:ext cx="8388000" cy="969282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60075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93700" y="1705670"/>
            <a:ext cx="7888288" cy="1592403"/>
          </a:xfrm>
        </p:spPr>
        <p:txBody>
          <a:bodyPr anchor="b"/>
          <a:lstStyle>
            <a:lvl1pPr>
              <a:lnSpc>
                <a:spcPct val="95000"/>
              </a:lnSpc>
              <a:defRPr sz="3629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93700" y="3429001"/>
            <a:ext cx="7888288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29">
                <a:solidFill>
                  <a:schemeClr val="bg1"/>
                </a:solidFill>
              </a:defRPr>
            </a:lvl1pPr>
            <a:lvl2pPr marL="430997" indent="0">
              <a:buNone/>
              <a:defRPr sz="1886">
                <a:solidFill>
                  <a:schemeClr val="tx1">
                    <a:tint val="75000"/>
                  </a:schemeClr>
                </a:solidFill>
              </a:defRPr>
            </a:lvl2pPr>
            <a:lvl3pPr marL="861993" indent="0">
              <a:buNone/>
              <a:defRPr sz="1697">
                <a:solidFill>
                  <a:schemeClr val="tx1">
                    <a:tint val="75000"/>
                  </a:schemeClr>
                </a:solidFill>
              </a:defRPr>
            </a:lvl3pPr>
            <a:lvl4pPr marL="129299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4pPr>
            <a:lvl5pPr marL="1723986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5pPr>
            <a:lvl6pPr marL="2154983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6pPr>
            <a:lvl7pPr marL="2585979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7pPr>
            <a:lvl8pPr marL="3016975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8pPr>
            <a:lvl9pPr marL="3447971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5914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15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5888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474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7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106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93243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51.xml"/><Relationship Id="rId34" Type="http://schemas.openxmlformats.org/officeDocument/2006/relationships/vmlDrawing" Target="../drawings/vmlDrawing4.v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tags" Target="../tags/tag5.xml"/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77191539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548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4"/>
            <a:ext cx="4900387" cy="2850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971998" y="6408002"/>
            <a:ext cx="792088" cy="252001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599" b="0">
                <a:solidFill>
                  <a:schemeClr val="tx2"/>
                </a:solidFill>
              </a:defRPr>
            </a:lvl1pPr>
          </a:lstStyle>
          <a:p>
            <a:pPr defTabSz="673454"/>
            <a:fld id="{95CC1D26-A9BD-4BDE-BDD9-08EDBAE96860}" type="slidenum">
              <a:rPr lang="en-GB" smtClean="0">
                <a:solidFill>
                  <a:srgbClr val="53565A"/>
                </a:solidFill>
              </a:rPr>
              <a:pPr defTabSz="673454"/>
              <a:t>‹#›</a:t>
            </a:fld>
            <a:endParaRPr lang="en-GB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106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6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178" userDrawn="1">
          <p15:clr>
            <a:srgbClr val="F26B43"/>
          </p15:clr>
        </p15:guide>
        <p15:guide id="5" pos="414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9" pos="2791" userDrawn="1">
          <p15:clr>
            <a:srgbClr val="F26B43"/>
          </p15:clr>
        </p15:guide>
        <p15:guide id="10" orient="horz" pos="236" userDrawn="1">
          <p15:clr>
            <a:srgbClr val="F26B43"/>
          </p15:clr>
        </p15:guide>
        <p15:guide id="11" pos="767" userDrawn="1">
          <p15:clr>
            <a:srgbClr val="F26B43"/>
          </p15:clr>
        </p15:guide>
        <p15:guide id="12" pos="853" userDrawn="1">
          <p15:clr>
            <a:srgbClr val="F26B43"/>
          </p15:clr>
        </p15:guide>
        <p15:guide id="13" pos="1440" userDrawn="1">
          <p15:clr>
            <a:srgbClr val="F26B43"/>
          </p15:clr>
        </p15:guide>
        <p15:guide id="14" pos="1525" userDrawn="1">
          <p15:clr>
            <a:srgbClr val="F26B43"/>
          </p15:clr>
        </p15:guide>
        <p15:guide id="15" pos="3465" userDrawn="1">
          <p15:clr>
            <a:srgbClr val="F26B43"/>
          </p15:clr>
        </p15:guide>
        <p15:guide id="16" pos="2117" userDrawn="1">
          <p15:clr>
            <a:srgbClr val="F26B43"/>
          </p15:clr>
        </p15:guide>
        <p15:guide id="17" pos="2203" userDrawn="1">
          <p15:clr>
            <a:srgbClr val="F26B43"/>
          </p15:clr>
        </p15:guide>
        <p15:guide id="18" pos="2160" userDrawn="1">
          <p15:clr>
            <a:srgbClr val="F26B43"/>
          </p15:clr>
        </p15:guide>
        <p15:guide id="19" pos="3551" userDrawn="1">
          <p15:clr>
            <a:srgbClr val="F26B43"/>
          </p15:clr>
        </p15:guide>
        <p15:guide id="20" orient="horz" pos="1049" userDrawn="1">
          <p15:clr>
            <a:srgbClr val="F26B43"/>
          </p15:clr>
        </p15:guide>
        <p15:guide id="21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5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21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160545" y="6577338"/>
            <a:ext cx="607218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113" y="6407834"/>
            <a:ext cx="4900387" cy="28506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r>
              <a:rPr lang="en-GB" dirty="0" smtClean="0"/>
              <a:t>© 2017 Deloitte </a:t>
            </a:r>
            <a:r>
              <a:rPr lang="en-GB" dirty="0" err="1" smtClean="0"/>
              <a:t>Magyarorszá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0305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  <p:sldLayoutId id="2147483919" r:id="rId31"/>
    <p:sldLayoutId id="2147483920" r:id="rId32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6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178">
          <p15:clr>
            <a:srgbClr val="F26B43"/>
          </p15:clr>
        </p15:guide>
        <p15:guide id="5" pos="4142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9" pos="2791">
          <p15:clr>
            <a:srgbClr val="F26B43"/>
          </p15:clr>
        </p15:guide>
        <p15:guide id="10" orient="horz" pos="236">
          <p15:clr>
            <a:srgbClr val="F26B43"/>
          </p15:clr>
        </p15:guide>
        <p15:guide id="11" pos="767">
          <p15:clr>
            <a:srgbClr val="F26B43"/>
          </p15:clr>
        </p15:guide>
        <p15:guide id="12" pos="853">
          <p15:clr>
            <a:srgbClr val="F26B43"/>
          </p15:clr>
        </p15:guide>
        <p15:guide id="13" pos="1440">
          <p15:clr>
            <a:srgbClr val="F26B43"/>
          </p15:clr>
        </p15:guide>
        <p15:guide id="14" pos="1525">
          <p15:clr>
            <a:srgbClr val="F26B43"/>
          </p15:clr>
        </p15:guide>
        <p15:guide id="15" pos="3465">
          <p15:clr>
            <a:srgbClr val="F26B43"/>
          </p15:clr>
        </p15:guide>
        <p15:guide id="16" pos="2117">
          <p15:clr>
            <a:srgbClr val="F26B43"/>
          </p15:clr>
        </p15:guide>
        <p15:guide id="17" pos="2203">
          <p15:clr>
            <a:srgbClr val="F26B43"/>
          </p15:clr>
        </p15:guide>
        <p15:guide id="18" pos="2160">
          <p15:clr>
            <a:srgbClr val="F26B43"/>
          </p15:clr>
        </p15:guide>
        <p15:guide id="19" pos="3551">
          <p15:clr>
            <a:srgbClr val="F26B43"/>
          </p15:clr>
        </p15:guide>
        <p15:guide id="20" orient="horz" pos="1049">
          <p15:clr>
            <a:srgbClr val="F26B43"/>
          </p15:clr>
        </p15:guide>
        <p15:guide id="21" orient="horz" pos="6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Barta Gergő</a:t>
            </a:r>
            <a:b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hu-HU" b="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Neptun kód: N787OJ</a:t>
            </a:r>
            <a: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hu-HU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7303" y="3414112"/>
            <a:ext cx="7206817" cy="505645"/>
          </a:xfrm>
        </p:spPr>
        <p:txBody>
          <a:bodyPr/>
          <a:lstStyle/>
          <a:p>
            <a:pPr algn="ctr"/>
            <a:r>
              <a:rPr lang="hu-HU" sz="2400" b="1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Disszertációs Rész bemutatása</a:t>
            </a:r>
          </a:p>
          <a:p>
            <a:pPr algn="ctr"/>
            <a:endParaRPr lang="hu-HU" sz="2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A Szent István Egyetem </a:t>
            </a: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Gazdálkodás és Szervezéstudományok Doktori Iskola </a:t>
            </a:r>
          </a:p>
          <a:p>
            <a:pPr algn="ctr"/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</a:t>
            </a:r>
            <a:r>
              <a:rPr lang="en-US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018. </a:t>
            </a:r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évi komplex vizsgára</a:t>
            </a:r>
          </a:p>
          <a:p>
            <a: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/>
            </a:r>
            <a:br>
              <a:rPr lang="hu-HU" sz="2400" dirty="0" smtClean="0"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endParaRPr lang="hu-HU" sz="2400" dirty="0"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6418699"/>
            <a:ext cx="4195762" cy="298450"/>
          </a:xfrm>
        </p:spPr>
        <p:txBody>
          <a:bodyPr>
            <a:normAutofit/>
          </a:bodyPr>
          <a:lstStyle/>
          <a:p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18.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únius 25.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954" y="320142"/>
            <a:ext cx="3131892" cy="2686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70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Mesterséges </a:t>
            </a:r>
            <a:r>
              <a:rPr lang="hu-HU" alt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telligencia alkalmazási területei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4694750"/>
              </p:ext>
            </p:extLst>
          </p:nvPr>
        </p:nvGraphicFramePr>
        <p:xfrm>
          <a:off x="984737" y="723900"/>
          <a:ext cx="7055678" cy="529852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871914">
                  <a:extLst>
                    <a:ext uri="{9D8B030D-6E8A-4147-A177-3AD203B41FA5}">
                      <a16:colId xmlns:a16="http://schemas.microsoft.com/office/drawing/2014/main" val="186813648"/>
                    </a:ext>
                  </a:extLst>
                </a:gridCol>
                <a:gridCol w="2650258">
                  <a:extLst>
                    <a:ext uri="{9D8B030D-6E8A-4147-A177-3AD203B41FA5}">
                      <a16:colId xmlns:a16="http://schemas.microsoft.com/office/drawing/2014/main" val="1865233874"/>
                    </a:ext>
                  </a:extLst>
                </a:gridCol>
                <a:gridCol w="2533506">
                  <a:extLst>
                    <a:ext uri="{9D8B030D-6E8A-4147-A177-3AD203B41FA5}">
                      <a16:colId xmlns:a16="http://schemas.microsoft.com/office/drawing/2014/main" val="3969932417"/>
                    </a:ext>
                  </a:extLst>
                </a:gridCol>
              </a:tblGrid>
              <a:tr h="54791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utatási terület</a:t>
                      </a:r>
                      <a:endParaRPr lang="hu-H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kalmazott eljárások</a:t>
                      </a:r>
                      <a:endParaRPr lang="hu-HU" sz="14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émában megjelent tanulmányok</a:t>
                      </a:r>
                      <a:endParaRPr lang="hu-H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7572213"/>
                  </a:ext>
                </a:extLst>
              </a:tr>
              <a:tr h="7817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rmészetes nyelvi feldolgozás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angfeldolgozás, Beszédfeldolgozás,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övegfeldolgozás, </a:t>
                      </a:r>
                      <a:r>
                        <a:rPr lang="hu-HU" sz="12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Suster et al., 2017)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Trivedi et al., 2017)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Vu et al., 2018)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Young et al., 2018)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679476331"/>
                  </a:ext>
                </a:extLst>
              </a:tr>
              <a:tr h="58634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épfeldolgozás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Baygin et al., 2018)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Noyel és Jourlin, 2018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utika et al., 2018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2042096879"/>
                  </a:ext>
                </a:extLst>
              </a:tr>
              <a:tr h="58634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intázatfelismerés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Evolúciós optimalizálás, Adatbányászat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Cho et al., 2018),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Kuznetsova et al., 2018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Lin et al., 2017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2223085064"/>
                  </a:ext>
                </a:extLst>
              </a:tr>
              <a:tr h="58634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rányítástechnika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uzzy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ndszerek, </a:t>
                      </a:r>
                      <a:r>
                        <a:rPr lang="hu-HU" sz="12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Damelin et al., 2015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Syropoulos, 2014)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Vychodil, 2016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3169125679"/>
                  </a:ext>
                </a:extLst>
              </a:tr>
              <a:tr h="39089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ereső eljárások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enetikus programozás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Behandish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u, 2014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Martí et al., 2016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1834306294"/>
                  </a:ext>
                </a:extLst>
              </a:tr>
              <a:tr h="40528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udásreprezentáció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akértői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ndszerek, </a:t>
                      </a:r>
                      <a:r>
                        <a:rPr lang="hu-HU" sz="12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Ravuri et al., 2018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h et al., 2017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3130932672"/>
                  </a:ext>
                </a:extLst>
              </a:tr>
              <a:tr h="58634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öntéstámogatás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Valószínűségi következtetési eljárások, Nem klasszikus logikák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ale et al., 2018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Voronin et al., 2018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1893396822"/>
                  </a:ext>
                </a:extLst>
              </a:tr>
              <a:tr h="43169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obotika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elymeghatározás, Mozgástervezés, Hardveres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ezérlés, </a:t>
                      </a:r>
                      <a:r>
                        <a:rPr lang="hu-HU" sz="12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Chatzilygeroudis et al., 2016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liwa 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t al., 2016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3145921019"/>
                  </a:ext>
                </a:extLst>
              </a:tr>
              <a:tr h="39089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igitális valóság</a:t>
                      </a:r>
                      <a:endParaRPr lang="hu-H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irtuális valóság, Kiterjesztett 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valóság, </a:t>
                      </a:r>
                      <a:r>
                        <a:rPr lang="hu-HU" sz="12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épi tanulás</a:t>
                      </a:r>
                      <a:endParaRPr lang="hu-HU" sz="12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hu-H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feffer </a:t>
                      </a: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t al., 2018),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Stets et al., 2018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380" marR="57380" marT="0" marB="0"/>
                </a:tc>
                <a:extLst>
                  <a:ext uri="{0D108BD9-81ED-4DB2-BD59-A6C34878D82A}">
                    <a16:rowId xmlns:a16="http://schemas.microsoft.com/office/drawing/2014/main" val="4244287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835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első </a:t>
            </a:r>
            <a:r>
              <a:rPr lang="hu-HU" alt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urális </a:t>
            </a:r>
            <a:r>
              <a:rPr lang="hu-HU" alt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áló (McCulloch – Pitts, 1943)</a:t>
            </a:r>
            <a:endParaRPr lang="hu-HU" alt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9762" y="815433"/>
            <a:ext cx="5324475" cy="526732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55850" y="6109392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 előre csatolt neurális hálózat (Aradi et al., 2014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234237" y="5238641"/>
            <a:ext cx="1363226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hu-HU" sz="12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input adat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</a:t>
            </a:r>
            <a:r>
              <a:rPr lang="hu-HU" sz="12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output adat</a:t>
            </a:r>
          </a:p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r>
              <a:rPr lang="hu-HU" sz="12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 - súlyvektor</a:t>
            </a:r>
            <a:endParaRPr lang="hu-HU" sz="1200" dirty="0" smtClean="0">
              <a:solidFill>
                <a:srgbClr val="31313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695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elállított hipotézisek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807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1.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1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Különböző logikát/megközelítést alkalmazó mesterséges intelligencia módszertanok magasabb fokú hibridizációjával magasabb teljesítmény érhető el az incidensek/anomáliák detektálására vonatkozóan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>
              <a:lnSpc>
                <a:spcPct val="110000"/>
              </a:lnSpc>
            </a:pP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5850" y="6059152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sztályozás gépi tanuló rendszerekkel (saját szerkesztés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444" y="2397911"/>
            <a:ext cx="4803110" cy="3408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70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1. racionalitását alátámasztó szakirodalom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568404"/>
              </p:ext>
            </p:extLst>
          </p:nvPr>
        </p:nvGraphicFramePr>
        <p:xfrm>
          <a:off x="376238" y="1009651"/>
          <a:ext cx="8249601" cy="4157976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749867">
                  <a:extLst>
                    <a:ext uri="{9D8B030D-6E8A-4147-A177-3AD203B41FA5}">
                      <a16:colId xmlns:a16="http://schemas.microsoft.com/office/drawing/2014/main" val="461622757"/>
                    </a:ext>
                  </a:extLst>
                </a:gridCol>
                <a:gridCol w="2749867">
                  <a:extLst>
                    <a:ext uri="{9D8B030D-6E8A-4147-A177-3AD203B41FA5}">
                      <a16:colId xmlns:a16="http://schemas.microsoft.com/office/drawing/2014/main" val="709322587"/>
                    </a:ext>
                  </a:extLst>
                </a:gridCol>
                <a:gridCol w="2749867">
                  <a:extLst>
                    <a:ext uri="{9D8B030D-6E8A-4147-A177-3AD203B41FA5}">
                      <a16:colId xmlns:a16="http://schemas.microsoft.com/office/drawing/2014/main" val="4210607748"/>
                    </a:ext>
                  </a:extLst>
                </a:gridCol>
              </a:tblGrid>
              <a:tr h="447357"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erzők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ljárások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redmények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776376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ortnoy et al. (2001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laszteranalízis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050058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Yamanishi és Takeuchi (2001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abály</a:t>
                      </a:r>
                      <a:r>
                        <a:rPr lang="hu-H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lapú elemzés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7274697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honey és Chan (2003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abály</a:t>
                      </a:r>
                      <a:r>
                        <a:rPr lang="hu-H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lapú elemzés</a:t>
                      </a:r>
                      <a:endParaRPr lang="hu-H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% pontossá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029582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ung és Leckie (2005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bridizál</a:t>
                      </a:r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 klaszterezés, SVM, KNN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%, 94%, 89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1517378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Zhang és Zulkernine (2006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VM, KNN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%, 11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947898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ekhar és Akoglu (2018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gyüttes </a:t>
                      </a:r>
                      <a:r>
                        <a:rPr lang="hu-HU" sz="16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brid</a:t>
                      </a:r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módszer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243833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kasassbeh (2018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brid</a:t>
                      </a:r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neurális háló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%</a:t>
                      </a:r>
                      <a:r>
                        <a:rPr lang="hu-HU" sz="16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5466415"/>
                  </a:ext>
                </a:extLst>
              </a:tr>
              <a:tr h="447357"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arma et al. (2018) 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eurofuzzy </a:t>
                      </a:r>
                      <a:r>
                        <a:rPr lang="hu-HU" sz="16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brid</a:t>
                      </a:r>
                      <a:endParaRPr lang="hu-HU" sz="16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% pontosság</a:t>
                      </a:r>
                      <a:endParaRPr lang="hu-H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96833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75763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2.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2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egyes hibrid modellek képesek az előre definiált normális tevékenységek között meghúzódó összefüggések matematikai leképezésére, s ez által az anomáliák feltárására, kísérletekkel alátámasztott optimális parametrizálásával azok megtanulására a túlilleszkedést minimalizálva.</a:t>
            </a:r>
          </a:p>
          <a:p>
            <a:pPr algn="just">
              <a:lnSpc>
                <a:spcPct val="110000"/>
              </a:lnSpc>
            </a:pP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5850" y="6059152"/>
            <a:ext cx="76322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últanulás vizualizálása (saját szerkesztés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9863" y="2940372"/>
            <a:ext cx="4722724" cy="3118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581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2. – paraméter-optimalizálási probléma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038601" y="1372297"/>
            <a:ext cx="4725484" cy="4178487"/>
            <a:chOff x="4711704" y="2171952"/>
            <a:chExt cx="4052380" cy="4178487"/>
          </a:xfrm>
        </p:grpSpPr>
        <p:sp>
          <p:nvSpPr>
            <p:cNvPr id="5" name="Text Placeholder 5"/>
            <p:cNvSpPr txBox="1">
              <a:spLocks/>
            </p:cNvSpPr>
            <p:nvPr/>
          </p:nvSpPr>
          <p:spPr>
            <a:xfrm>
              <a:off x="5702300" y="2171952"/>
              <a:ext cx="3061784" cy="4178487"/>
            </a:xfrm>
            <a:prstGeom prst="rect">
              <a:avLst/>
            </a:prstGeom>
            <a:solidFill>
              <a:sysClr val="window" lastClr="FFFFFF"/>
            </a:solidFill>
            <a:ln w="12700">
              <a:solidFill>
                <a:srgbClr val="009A44"/>
              </a:solidFill>
            </a:ln>
          </p:spPr>
          <p:txBody>
            <a:bodyPr wrap="square" lIns="88900" tIns="88900" rIns="88900" bIns="889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spcBef>
                  <a:spcPts val="1200"/>
                </a:spcBef>
                <a:defRPr/>
              </a:pPr>
              <a:r>
                <a:rPr lang="hu-HU" sz="1600" b="1" dirty="0" smtClean="0">
                  <a:solidFill>
                    <a:schemeClr val="tx2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odellspecifikus paraméterek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eurális háló rétegek száma, mélysége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öntési fák, véletlen erdők mélysége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zupport vektor gépek kernel függvénye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Klaszteranalízis - Klaszterek száma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volúciós optimalizálás – populáció, fittneszfüggvény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Elmosódott halmazok logikája – karakterisztikus függvények</a:t>
              </a:r>
            </a:p>
            <a:p>
              <a:pPr marL="342900" lvl="0" indent="-342900">
                <a:spcBef>
                  <a:spcPts val="600"/>
                </a:spcBef>
                <a:buFont typeface="+mj-lt"/>
                <a:buAutoNum type="arabicPeriod"/>
                <a:defRPr/>
              </a:pPr>
              <a:r>
                <a:rPr lang="hu-HU" sz="1600" b="1" dirty="0" smtClean="0">
                  <a:solidFill>
                    <a:srgbClr val="009A44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..</a:t>
              </a:r>
            </a:p>
            <a:p>
              <a:pPr lvl="0">
                <a:spcBef>
                  <a:spcPts val="1200"/>
                </a:spcBef>
                <a:defRPr/>
              </a:pPr>
              <a:endPara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just"/>
              <a:endParaRPr lang="hu-HU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28600" lvl="0" indent="-228600">
                <a:spcBef>
                  <a:spcPts val="600"/>
                </a:spcBef>
                <a:buFont typeface="Arial" charset="0"/>
                <a:buAutoNum type="arabicPeriod"/>
                <a:defRPr/>
              </a:pPr>
              <a:endParaRPr kumimoji="0" lang="hu-HU" sz="16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Trapezoid 5"/>
            <p:cNvSpPr/>
            <p:nvPr/>
          </p:nvSpPr>
          <p:spPr>
            <a:xfrm rot="16200000">
              <a:off x="3117759" y="3765898"/>
              <a:ext cx="4178485" cy="990596"/>
            </a:xfrm>
            <a:prstGeom prst="trapezoid">
              <a:avLst>
                <a:gd name="adj" fmla="val 98866"/>
              </a:avLst>
            </a:prstGeom>
            <a:solidFill>
              <a:srgbClr val="009A44"/>
            </a:solidFill>
            <a:ln w="19050" algn="ctr">
              <a:noFill/>
              <a:miter lim="800000"/>
              <a:headEnd/>
              <a:tailEnd/>
            </a:ln>
          </p:spPr>
          <p:txBody>
            <a:bodyPr vert="eaVert" wrap="none" lIns="88900" tIns="88900" rIns="88900" bIns="889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200" b="0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7" name="Text Placeholder 5"/>
          <p:cNvSpPr txBox="1">
            <a:spLocks/>
          </p:cNvSpPr>
          <p:nvPr/>
        </p:nvSpPr>
        <p:spPr>
          <a:xfrm>
            <a:off x="376238" y="1372297"/>
            <a:ext cx="3662363" cy="4050869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rgbClr val="009A44"/>
            </a:solidFill>
          </a:ln>
        </p:spPr>
        <p:txBody>
          <a:bodyPr wrap="square" lIns="88900" tIns="88900" rIns="88900" bIns="8890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1200"/>
              </a:spcBef>
              <a:defRPr/>
            </a:pPr>
            <a:r>
              <a:rPr lang="hu-HU" sz="16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rális paraméterek</a:t>
            </a:r>
          </a:p>
          <a:p>
            <a:pPr lvl="0">
              <a:spcBef>
                <a:spcPts val="1200"/>
              </a:spcBef>
              <a:defRPr/>
            </a:pPr>
            <a:endParaRPr lang="en-US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nulási ráta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gularizáció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szt és tréning adatok aránya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ktivációs függvény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goritmus megállási kritériumok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 smtClean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attranszformáció</a:t>
            </a:r>
          </a:p>
          <a:p>
            <a:pPr marL="228600" lvl="0" indent="-228600">
              <a:spcBef>
                <a:spcPts val="600"/>
              </a:spcBef>
              <a:buFont typeface="Arial" charset="0"/>
              <a:buAutoNum type="arabicPeriod"/>
              <a:defRPr/>
            </a:pPr>
            <a:r>
              <a:rPr lang="hu-HU" sz="1600" b="1" dirty="0" smtClean="0">
                <a:solidFill>
                  <a:srgbClr val="009A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  <a:endParaRPr lang="hu-HU" sz="1600" b="1" dirty="0">
              <a:solidFill>
                <a:srgbClr val="009A4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spcBef>
                <a:spcPts val="600"/>
              </a:spcBef>
              <a:defRPr/>
            </a:pPr>
            <a:endParaRPr 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752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</a:t>
            </a:r>
            <a:r>
              <a:rPr lang="hu-H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3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hibrid modellek a többváltozós matematikai statisztikai módszerekkel szemben meghaladják az előzetesen definiált jóság metrikák aggregált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intjét.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ezdeti statisztikai eljárások dominanciája pl. Smaha (1988), Ghosh et al. (1998), Warrender et al. (1999), Ye et al. (2001), Liao és Vemuri (2001).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1347457"/>
              </p:ext>
            </p:extLst>
          </p:nvPr>
        </p:nvGraphicFramePr>
        <p:xfrm>
          <a:off x="411986" y="3326002"/>
          <a:ext cx="4160014" cy="27475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86674">
                  <a:extLst>
                    <a:ext uri="{9D8B030D-6E8A-4147-A177-3AD203B41FA5}">
                      <a16:colId xmlns:a16="http://schemas.microsoft.com/office/drawing/2014/main" val="1967855842"/>
                    </a:ext>
                  </a:extLst>
                </a:gridCol>
                <a:gridCol w="693335">
                  <a:extLst>
                    <a:ext uri="{9D8B030D-6E8A-4147-A177-3AD203B41FA5}">
                      <a16:colId xmlns:a16="http://schemas.microsoft.com/office/drawing/2014/main" val="117393776"/>
                    </a:ext>
                  </a:extLst>
                </a:gridCol>
                <a:gridCol w="693335">
                  <a:extLst>
                    <a:ext uri="{9D8B030D-6E8A-4147-A177-3AD203B41FA5}">
                      <a16:colId xmlns:a16="http://schemas.microsoft.com/office/drawing/2014/main" val="3922380441"/>
                    </a:ext>
                  </a:extLst>
                </a:gridCol>
                <a:gridCol w="693335">
                  <a:extLst>
                    <a:ext uri="{9D8B030D-6E8A-4147-A177-3AD203B41FA5}">
                      <a16:colId xmlns:a16="http://schemas.microsoft.com/office/drawing/2014/main" val="2587926695"/>
                    </a:ext>
                  </a:extLst>
                </a:gridCol>
                <a:gridCol w="693335">
                  <a:extLst>
                    <a:ext uri="{9D8B030D-6E8A-4147-A177-3AD203B41FA5}">
                      <a16:colId xmlns:a16="http://schemas.microsoft.com/office/drawing/2014/main" val="4284521186"/>
                    </a:ext>
                  </a:extLst>
                </a:gridCol>
              </a:tblGrid>
              <a:tr h="460789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lvásárlás (ország azonosság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ecslés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Összesen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428475"/>
                  </a:ext>
                </a:extLst>
              </a:tr>
              <a:tr h="262693">
                <a:tc gridSpan="2"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1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1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267193"/>
                  </a:ext>
                </a:extLst>
              </a:tr>
              <a:tr h="180870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smtClean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USA nélkül</a:t>
                      </a:r>
                      <a:endParaRPr lang="hu-HU" sz="11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52846"/>
                  </a:ext>
                </a:extLst>
              </a:tr>
              <a:tr h="46078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b</a:t>
                      </a:r>
                      <a:endParaRPr lang="hu-HU" sz="2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884441842"/>
                  </a:ext>
                </a:extLst>
              </a:tr>
              <a:tr h="460789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050983296"/>
                  </a:ext>
                </a:extLst>
              </a:tr>
              <a:tr h="46078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hu-HU" sz="2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266776127"/>
                  </a:ext>
                </a:extLst>
              </a:tr>
              <a:tr h="460789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856718874"/>
                  </a:ext>
                </a:extLst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798979"/>
              </p:ext>
            </p:extLst>
          </p:nvPr>
        </p:nvGraphicFramePr>
        <p:xfrm>
          <a:off x="4883498" y="3245616"/>
          <a:ext cx="4170066" cy="27749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0022">
                  <a:extLst>
                    <a:ext uri="{9D8B030D-6E8A-4147-A177-3AD203B41FA5}">
                      <a16:colId xmlns:a16="http://schemas.microsoft.com/office/drawing/2014/main" val="1275195269"/>
                    </a:ext>
                  </a:extLst>
                </a:gridCol>
                <a:gridCol w="695011">
                  <a:extLst>
                    <a:ext uri="{9D8B030D-6E8A-4147-A177-3AD203B41FA5}">
                      <a16:colId xmlns:a16="http://schemas.microsoft.com/office/drawing/2014/main" val="2019851761"/>
                    </a:ext>
                  </a:extLst>
                </a:gridCol>
                <a:gridCol w="695011">
                  <a:extLst>
                    <a:ext uri="{9D8B030D-6E8A-4147-A177-3AD203B41FA5}">
                      <a16:colId xmlns:a16="http://schemas.microsoft.com/office/drawing/2014/main" val="4150273264"/>
                    </a:ext>
                  </a:extLst>
                </a:gridCol>
                <a:gridCol w="695011">
                  <a:extLst>
                    <a:ext uri="{9D8B030D-6E8A-4147-A177-3AD203B41FA5}">
                      <a16:colId xmlns:a16="http://schemas.microsoft.com/office/drawing/2014/main" val="1649236533"/>
                    </a:ext>
                  </a:extLst>
                </a:gridCol>
                <a:gridCol w="695011">
                  <a:extLst>
                    <a:ext uri="{9D8B030D-6E8A-4147-A177-3AD203B41FA5}">
                      <a16:colId xmlns:a16="http://schemas.microsoft.com/office/drawing/2014/main" val="3532025222"/>
                    </a:ext>
                  </a:extLst>
                </a:gridCol>
              </a:tblGrid>
              <a:tr h="432490"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lvásárlás (ország azonosság)</a:t>
                      </a:r>
                      <a:endParaRPr lang="hu-HU" sz="12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ecslés</a:t>
                      </a:r>
                      <a:endParaRPr lang="hu-HU" sz="11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Összesen</a:t>
                      </a:r>
                      <a:endParaRPr lang="hu-HU" sz="11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610577"/>
                  </a:ext>
                </a:extLst>
              </a:tr>
              <a:tr h="432490">
                <a:tc gridSpan="2"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1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1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223993"/>
                  </a:ext>
                </a:extLst>
              </a:tr>
              <a:tr h="180049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smtClean="0">
                          <a:effectLst/>
                          <a:latin typeface="Times New Roman" panose="02020603050405020304" pitchFamily="18" charset="0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USA nélkül</a:t>
                      </a:r>
                      <a:endParaRPr lang="hu-HU" sz="11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982010"/>
                  </a:ext>
                </a:extLst>
              </a:tr>
              <a:tr h="43249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2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b</a:t>
                      </a:r>
                      <a:endParaRPr lang="hu-HU" sz="200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422386320"/>
                  </a:ext>
                </a:extLst>
              </a:tr>
              <a:tr h="43249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7832499"/>
                  </a:ext>
                </a:extLst>
              </a:tr>
              <a:tr h="43249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2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lang="hu-HU" sz="2000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210600327"/>
                  </a:ext>
                </a:extLst>
              </a:tr>
              <a:tr h="43249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%</a:t>
                      </a:r>
                      <a:endParaRPr lang="hu-HU" sz="1400" b="1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hu-HU" sz="1400" b="1" dirty="0">
                        <a:effectLst/>
                        <a:latin typeface="Times New Roman" panose="02020603050405020304" pitchFamily="18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983232277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209" y="6258640"/>
            <a:ext cx="880235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zkriminancia-elemzés és Neurális háló modell eredményeinek összehasonlítása (Barta – Pitlik, 2018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8362" y="3017761"/>
            <a:ext cx="35872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zkriminancia-elemzé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74900" y="2999395"/>
            <a:ext cx="358726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urális háló</a:t>
            </a:r>
          </a:p>
        </p:txBody>
      </p:sp>
    </p:spTree>
    <p:extLst>
      <p:ext uri="{BB962C8B-B14F-4D97-AF65-F5344CB8AC3E}">
        <p14:creationId xmlns:p14="http://schemas.microsoft.com/office/powerpoint/2010/main" val="5211330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 4.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4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hibrid modellekben az input jelként felhasznált adatokat lehetséges olyan szinten transzformálni és a modellekbe lehetséges olyan védelmi mechanizmusokat beépíteni, hogy azok ellenállók legyenek egyes külső szándékos manipulációkkal szemben, melyek célja az anomália-detektáló rendszer félrevezetése, vagyis az anomáliák normális magatartásként történő feltüntetése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problémát számos kutató felismerte, többek között Ghosh et al. (1998), Mahoney és Chan (2002), Kloft és Laskov (2010).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0525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ipotézisek - összefoglalás</a:t>
            </a:r>
            <a:endParaRPr lang="hu-H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 fontScale="92500"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1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Különböző logikát/megközelítést alkalmazó mesterséges intelligencia módszertanok magasabb fokú </a:t>
            </a:r>
            <a:r>
              <a:rPr lang="hu-HU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brid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zációjával magasabb teljesítmény érhető el az incidensek/anomáliák detektálására vonatkozóan.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2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egyes hibrid modellek képesek az előre definiált normális tevékenységek között meghúzódó összefüggések matematikai leképezésére, s ez által az anomáliák feltárására, kísérletekkel alátámasztott optimális parametrizálásával azok megtanulására a </a:t>
            </a:r>
            <a:r>
              <a:rPr lang="hu-HU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úlilleszkedés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 minimalizálva.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3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hibrid modellek a többváltozós matematikai </a:t>
            </a:r>
            <a:r>
              <a:rPr lang="hu-HU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atisztikai módszerek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el szemben meghaladják az előzetesen definiált jóság metrikák aggregált szintjét.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4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A kutatásban elkészítendő hibrid modellekben az input jelként felhasznált adatokat lehetséges olyan szinten transzformálni és a modellekbe lehetséges olyan </a:t>
            </a:r>
            <a:r>
              <a:rPr lang="hu-HU" sz="2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védelmi mechanizmusok</a:t>
            </a: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 beépíteni, hogy azok ellenállók legyenek egyes külső szándékos manipulációkkal szemben, melyek célja az anomália-detektáló rendszer félrevezetése, vagyis az anomáliák normális magatartásként történő feltüntetése.</a:t>
            </a:r>
          </a:p>
        </p:txBody>
      </p:sp>
    </p:spTree>
    <p:extLst>
      <p:ext uri="{BB962C8B-B14F-4D97-AF65-F5344CB8AC3E}">
        <p14:creationId xmlns:p14="http://schemas.microsoft.com/office/powerpoint/2010/main" val="1976900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rtalom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79127" y="1"/>
            <a:ext cx="2964873" cy="6858000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65178"/>
              </p:ext>
            </p:extLst>
          </p:nvPr>
        </p:nvGraphicFramePr>
        <p:xfrm>
          <a:off x="370113" y="2213697"/>
          <a:ext cx="5471333" cy="2041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7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42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7194">
                <a:tc>
                  <a:txBody>
                    <a:bodyPr/>
                    <a:lstStyle/>
                    <a:p>
                      <a:r>
                        <a:rPr lang="hu-HU" sz="1800" b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utatási téma</a:t>
                      </a:r>
                      <a:r>
                        <a:rPr lang="hu-HU" sz="1800" b="0" baseline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bemutatása</a:t>
                      </a:r>
                      <a:endParaRPr lang="hu-HU" sz="1800" b="0" noProof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akirodalom-elemzé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noProof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lállított hipotézisek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71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rodalomjegyzé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u-HU" sz="18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u-HU" sz="18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hu-HU" sz="18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1251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870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803868"/>
            <a:ext cx="8391525" cy="5577883"/>
          </a:xfrm>
        </p:spPr>
        <p:txBody>
          <a:bodyPr>
            <a:noAutofit/>
          </a:bodyPr>
          <a:lstStyle/>
          <a:p>
            <a:pPr marL="228600" lvl="0" indent="-228600" algn="just">
              <a:buFont typeface="+mj-lt"/>
              <a:buAutoNum type="arabicPeriod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adi P. – Graff J. – Lipovszki Gy. (2014): Számítógépes szimuláció.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ÁMOP-4.1.2.A/1-11/1-2011-0042 azonosító számú „</a:t>
            </a:r>
            <a:r>
              <a:rPr lang="hu-H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chatronikai mérnök MSc tananyagfejlesztés</a:t>
            </a:r>
            <a:r>
              <a:rPr lang="hu-H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” projekt keretében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észült.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aújo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. A. (2016): Semantic Information and Artificial Intelligence. In: Müller V. C. (szerk.:) Fundamental Issues of Artificial Intelligence. Svájc, Springer International Publishing, 572 p., 129-140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ygin M. – Karakose M. – Sarimaden A. – Akin E. (2018): An Image Processing based Object Counting Approach for Machine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sion Application. https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xiv.org/ftp/arxiv/papers/1802/1802.05911.pdf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Letöltés ideje: 2018 április 1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handish M. – Wu Z. Y. (2014): Concurrent Pump Scheduling and Storage Level Optimization Using Meta-Models and Evolutionary Algorithms. Procedia Engineering, 70:103-112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rgulya I. (1998): Neurális hálók és fuzzy-rendszerek. Budapest – Pécs, Dialóg Campus Szakkönyvek, 226 p.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rniak E. – McDermott D. (1985): Introduction to Artificial Intelligence. Massachusetts, Addison-Wesley, 701 p. Idézve: Russel S. – Norvig P. (2005): Mesterséges Intelligencia modern megközelítésben. Budapest, Panem, 1206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atzilygeroudis K. – Cully A. - Mouret J. (2018): Towards semi-episodic learning for robot damage recovery. https://arxiv.org/pdf/1610.01407.pdf. Letöltés ideje: 2018. április 12.</a:t>
            </a:r>
          </a:p>
          <a:p>
            <a:pPr marL="228600" lvl="0" indent="-228600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 Y. – Bianchi-Berthouze N. – Marquardt N. – Julier S. J. (2018): Deep Thermal Imaging: Proximate Material Type Recognition in the Wild through Deep Learning of Spatial Surface Temperature Patterns. https://arxiv.org/ftp/arxiv/papers/</a:t>
            </a:r>
            <a:b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803/1803.02310.pdf. Letöltés ideje: 2018. április 12.  </a:t>
            </a:r>
            <a:endParaRPr lang="hu-H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melin S. B. – Gu Y. – Wunsch D. C. – Xu R. (2015): Fuzzy Adaptive Resonance Theory, Diffusion Maps and their applications to Clustering and Biclustering. Mathematical Modelling of Natural Phenomena. X. évf. 3. sz. 206-211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hosh A. K. – Wanken J. – Charron F. (1998): Detecting anomalous and unknown intrusions against programs. Proceedings of the 1998 Annual Computer Security Applications Conference (ACSAC). 1-9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oogle (2018): https://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ends.google.hu/trends/explore?date=2013-01-01%202018-06-22&amp;q=Artificial%20Intelligence,Machine%20</a:t>
            </a:r>
            <a:b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earning,Cyber%20Security,IT%20security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%2Fm%2F04xgb. Letöltés ideje: 2018. június 2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loft M. – Laskov P. (2012): Security Analysis of Online Centroid Anomaly Detection. Journal of Machine Learning Research. 13:3681-3724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2734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663576"/>
            <a:ext cx="8391525" cy="5577883"/>
          </a:xfrm>
        </p:spPr>
        <p:txBody>
          <a:bodyPr>
            <a:noAutofit/>
          </a:bodyPr>
          <a:lstStyle/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urzweil R. (1990): The age of intelligent machines. Massachusetss, MIT Press, 565 p.</a:t>
            </a:r>
          </a:p>
          <a:p>
            <a:pPr marL="228600" lvl="0" indent="-228600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uznetsova I. – Karpievitch Y. V. – Filipocska A. – Lugmayr A. – Holzinger A. (2018): Review of machine learning algorithms in differential expression analysis. https://arxiv.org/ftp/arxiv/papers/1707/1707.09837.pdf. Letöltés ideje: 2018. április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n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. H. – Brady J. P. – Forman-Kay J. D. – Chan H. S. (2017): Charge Pattern Matching as a “Fuzzy” Mode of Molecular Recognition for the Functional Phase Separations of Intrinsically Disordered Proteins. https://arxiv.org/pdf/1707.08990.pdf. Letöltés ideje: 2018. április 1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honey M. V. – Chan P. K. (2002): Learning nonstationary models of normal network traffic for detecting novel attacks. Proceedings of the Eight ACM SIGKDD International Joint Conference on Neural Networks.  1-48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rti L. - Arsene F. – Laurent N. – Schoenauer M. (2016): Anomaly Detection with the Voronoi Diagram Evolutionary Algorithm. Parallel Problem Solving from Nature. 697-706. p. 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a J. – Miguel I. – Durán R. J. – Merayo N. – Singh S. K. – Jukan A. – Chamania M. (2018): Artificial intelligence (AI) methods in optical networks: A comprehensive survey. Optical Switching and Networking. 28:43-57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cCulloch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. – Pitts W. (1943): A Logical Calculus of the Ideas Immanent in Nervous Activity. The bulletin of mathematical biphysics, V. évf. 4. sz. 115-133.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yel G. – Jourlin M. (2018): Framework for colour and multivariate images. https://arxiv.org/pdf/1803.00764.pdf. Letöltés ideje: 2018. április 12.  </a:t>
            </a:r>
            <a:endParaRPr lang="hu-H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feffer A. – Ruttenberg B. – Kellogg L. – Howard M. – Call C. – O’Connor A. – Takata G. – Reilly S. N. – Patten T. – Taylor J. – Hall R. – Lakhotia A. – Miles C. – Scofield D. – Frank J. (2017): Artificial Intelligence Based Malware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alysis.https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arxiv.org/pdf</a:t>
            </a:r>
            <a:b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1704.08716.pdf. Letöltés ideje: 2018. április 23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ole D. – Mackworth R. – Goebel R. (1998): Computational Intelligence. A logical approach. New York, Oxford University Press, 576 p. Idézve: Russel S. – Norvig P. (2005): Mesterséges Intelligencia modern megközelítésben. Budapest, Panem, 1206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vuri M. – Kannan A. – Tso G. – Amatriain X. (2018): Learning from the experts: From expert systems to machine learned diagnosis models. https://arxiv.org/pdf/1804.08033.pdf. Letöltés ideje: 2018. április 1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ussel S. – Norvig P. (2009): Artificial Intelligence: A Modern Approach. 3rd Edition. USA, Pearson, 1152 p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 startAt="13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abbir J. – Anwer T. (2015): Artificial Intelligence and its Role in Near Future. Journal of Latex Class Files. IV. évf. 8. sz. 1-11. p.</a:t>
            </a:r>
          </a:p>
          <a:p>
            <a:pPr marL="228600" lvl="0" indent="-228600" algn="just">
              <a:buFont typeface="+mj-lt"/>
              <a:buAutoNum type="arabicPeriod" startAt="13"/>
            </a:pP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4453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rodalomjegyzék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803868"/>
            <a:ext cx="8391525" cy="5577883"/>
          </a:xfrm>
        </p:spPr>
        <p:txBody>
          <a:bodyPr>
            <a:noAutofit/>
          </a:bodyPr>
          <a:lstStyle/>
          <a:p>
            <a:pPr marL="22860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ah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. – Gulikers L. – Massoulié L. – Vojnovic M. (2017): Adaptive Matching for Expert Systems with Uncertain Task Types. https://arxiv.org/pdf/1703.00674.pdf. Letöltés ideje: 2018. április 12.</a:t>
            </a:r>
          </a:p>
          <a:p>
            <a:pPr marL="228600" indent="-228600" algn="just">
              <a:buFont typeface="+mj-lt"/>
              <a:buAutoNum type="arabicPeriod" startAt="26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liwa B. – Ide C. – Wietfeld C. (2016): An OMNeT++ based Framework for Mobility-aware Routing in Mobile Robotic Networks. https://arxiv.org/pdf/1609.05351.pdf. Letöltés ideje: 2018. május 27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ets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. D. – Sun Y. – Corning W. – Greenwald S. (2018): Visualization and Labeling of Point Clouds in Virtual Reality. https://arxiv.org/pdf/1804.04111.pdf. Letöltés ideje: 2018. április 1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ster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. – Tulkens S. – Daelemans W. (2017): A Short Review of Ethical Challenges in Clinical Natural Language Processing. https://arxiv.org/pdf/1703.10090.pdf. Letöltés ideje: 2018. április 12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yropoulos A. (2014): Fuzzy Categories. https://arxiv.org/pdf/1410.1478.pdf. Letöltés ideje: 2018. április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ivedi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. – Pham P. – Chapman W. – Hwa R. – Wiebe J. – Hochheiser. (2017): An Interactive Tool for Natural Language Processing on Clinical Text. https://arxiv.org/pdf/1707.01890.pdf. Letöltés ideje: 2018. április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utika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. S. – Vallapaneni C. – Karthik R. – Bharath K. P. Muthi N. R. R. K. M. (2018): Image Segmentation and Processing for Efficient Parking Space Analysis. https://arxiv.org/ftp/arxiv/papers/1803/1803.04620.pdf. Letöltés ideje: 2018. április 12.  </a:t>
            </a: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eale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. – Kleek M. V. – Binns R. (2018): Fairness and Accountability Design Needs for Algorithmic Support in High-Stakes Public Sector Decision-Making. Proceedings of the 2018 CHI Conference on Human Factors in Computing Systems. 440-445.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oronin A. – Isaeva I. – Khoperskov A. – Grebenuk S. (2017): Decision Support Systems for Urbanization of the Northern Part of the Volga-Akhtuba Floodplain (Russia) on the Basis of Interdisciplinary Computer Modeling. Communications in Computer and Information Science. 754:419-429. p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u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. – Nguyen D. Q. – Nguyen D. Q. – Dras M. – Johnos M. (2018): VnCoreNLP: A Vietnamese Natural Language Processing Toolkit. Proceedings of the 2018 Conference of the North American Chapter of the Association for Computational Linguistics: Demonstrations, NAACL 2018. 1-5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ychodil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. (2016): Parameterizing the Semantics of Fuzzy Attribute Implications by Systems of Isotone Galois Connections. IEEE Transactions on Fuzzy Systems. XXIV. évf. 3. sz. 645-660. </a:t>
            </a: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.</a:t>
            </a:r>
          </a:p>
          <a:p>
            <a:pPr marL="228600" lvl="0" indent="-228600" algn="just">
              <a:buFont typeface="+mj-lt"/>
              <a:buAutoNum type="arabicPeriod" startAt="26"/>
            </a:pPr>
            <a:r>
              <a:rPr lang="hu-H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oung </a:t>
            </a:r>
            <a:r>
              <a:rPr lang="hu-H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. – Hazarika D. – Poria S. – Cambria E. (2018): Recent Trends in Deep Learning Based Natural Language Processing. https://arxiv.org/pdf/1708.02709.pdf. Letöltés ideje: 2018. április 12.</a:t>
            </a:r>
          </a:p>
          <a:p>
            <a:pPr lvl="0" algn="just"/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just">
              <a:buFont typeface="+mj-lt"/>
              <a:buAutoNum type="arabicPeriod"/>
            </a:pPr>
            <a:endParaRPr lang="hu-H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09531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4656" y="2774202"/>
            <a:ext cx="825124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öszönöm </a:t>
            </a:r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megtisztelő </a:t>
            </a:r>
            <a:r>
              <a:rPr lang="hu-HU" sz="44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gyelmet!</a:t>
            </a:r>
          </a:p>
        </p:txBody>
      </p:sp>
    </p:spTree>
    <p:extLst>
      <p:ext uri="{BB962C8B-B14F-4D97-AF65-F5344CB8AC3E}">
        <p14:creationId xmlns:p14="http://schemas.microsoft.com/office/powerpoint/2010/main" val="416962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utatási téma bemutatása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9677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értekezés jelenlegi tervezett címe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6238" y="1163782"/>
            <a:ext cx="8391525" cy="5217969"/>
          </a:xfrm>
        </p:spPr>
        <p:txBody>
          <a:bodyPr>
            <a:normAutofit/>
          </a:bodyPr>
          <a:lstStyle/>
          <a:p>
            <a:pPr algn="ctr">
              <a:lnSpc>
                <a:spcPct val="110000"/>
              </a:lnSpc>
              <a:buFontTx/>
              <a:buNone/>
            </a:pPr>
            <a:endParaRPr lang="hu-HU" sz="3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buFontTx/>
              <a:buNone/>
            </a:pPr>
            <a:endParaRPr lang="hu-H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buFontTx/>
              <a:buNone/>
            </a:pPr>
            <a:r>
              <a:rPr lang="hu-H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esterséges intelligenciák alkalmazása </a:t>
            </a:r>
          </a:p>
          <a:p>
            <a:pPr algn="ctr">
              <a:lnSpc>
                <a:spcPct val="110000"/>
              </a:lnSpc>
              <a:buFontTx/>
              <a:buNone/>
            </a:pPr>
            <a:r>
              <a:rPr lang="hu-H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informatikai rendszerek </a:t>
            </a:r>
          </a:p>
          <a:p>
            <a:pPr algn="ctr">
              <a:lnSpc>
                <a:spcPct val="110000"/>
              </a:lnSpc>
              <a:buFontTx/>
              <a:buNone/>
            </a:pPr>
            <a:r>
              <a:rPr lang="hu-H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ztonsági auditjában</a:t>
            </a:r>
            <a:endParaRPr lang="hu-H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37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éma aktualitása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5850" y="6018960"/>
            <a:ext cx="763229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kutatás témájával szorosan kapcsolatba hozható </a:t>
            </a: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ulcsfogalmak relatív érdeklődése </a:t>
            </a:r>
            <a:r>
              <a:rPr lang="hu-HU" sz="1600" dirty="0" smtClean="0">
                <a:solidFill>
                  <a:srgbClr val="31313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Google Trends alapján (Google, 2018)</a:t>
            </a: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3637342"/>
              </p:ext>
            </p:extLst>
          </p:nvPr>
        </p:nvGraphicFramePr>
        <p:xfrm>
          <a:off x="376238" y="874207"/>
          <a:ext cx="8184958" cy="4923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64139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téma gazdálkodás és szervezéstudományi aspektusai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76238" y="1505565"/>
            <a:ext cx="8126538" cy="875894"/>
            <a:chOff x="370113" y="1766823"/>
            <a:chExt cx="8126538" cy="484632"/>
          </a:xfrm>
        </p:grpSpPr>
        <p:sp>
          <p:nvSpPr>
            <p:cNvPr id="16" name="Pentagon 15"/>
            <p:cNvSpPr/>
            <p:nvPr/>
          </p:nvSpPr>
          <p:spPr bwMode="gray">
            <a:xfrm>
              <a:off x="370113" y="1766823"/>
              <a:ext cx="8126538" cy="484632"/>
            </a:xfrm>
            <a:prstGeom prst="homePlate">
              <a:avLst/>
            </a:prstGeom>
            <a:solidFill>
              <a:srgbClr val="43B02A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Text Placeholder 8"/>
            <p:cNvSpPr txBox="1">
              <a:spLocks/>
            </p:cNvSpPr>
            <p:nvPr/>
          </p:nvSpPr>
          <p:spPr>
            <a:xfrm>
              <a:off x="480868" y="1766823"/>
              <a:ext cx="7905028" cy="3843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SzPct val="100000"/>
                <a:buFont typeface="Arial" panose="020B0604020202020204" pitchFamily="34" charset="0"/>
                <a:buNone/>
                <a:defRPr sz="2000" b="0" kern="1200">
                  <a:solidFill>
                    <a:srgbClr val="575757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/>
                <a:buNone/>
                <a:defRPr lang="en-US" sz="16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7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Arial" panose="020B0604020202020204" pitchFamily="34" charset="0"/>
                <a:buChar char="•"/>
                <a:defRPr lang="en-US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564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defRPr lang="en-US" sz="16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32800" indent="-176400" algn="l" defTabSz="798513" rtl="0" eaLnBrk="1" latinLnBrk="0" hangingPunct="1">
                <a:spcBef>
                  <a:spcPts val="0"/>
                </a:spcBef>
                <a:spcAft>
                  <a:spcPts val="1000"/>
                </a:spcAft>
                <a:buClrTx/>
                <a:buSzPct val="100000"/>
                <a:buFont typeface="Verdana" panose="020B0604030504040204" pitchFamily="34" charset="0"/>
                <a:buChar char="−"/>
                <a:tabLst/>
                <a:defRPr lang="en-US" sz="1600" kern="1200" baseline="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2800" indent="-176400" algn="l" defTabSz="914400" rtl="0" eaLnBrk="1" latinLnBrk="0" hangingPunct="1">
                <a:spcBef>
                  <a:spcPts val="0"/>
                </a:spcBef>
                <a:spcAft>
                  <a:spcPts val="1000"/>
                </a:spcAft>
                <a:buFont typeface="Verdana" panose="020B0604030504040204" pitchFamily="34" charset="0"/>
                <a:buChar char="−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hu-HU" sz="1600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</a:t>
              </a:r>
              <a:r>
                <a:rPr lang="hu-HU" sz="1600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dern szervezeti probléma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hu-HU" sz="1600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z információbiztonsági kitettség a technológia, a digitalizáció negatív hozadéka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hu-HU" sz="1600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z információ, az adatvagyon külső és belső támadoktól védendő</a:t>
              </a:r>
            </a:p>
          </p:txBody>
        </p:sp>
      </p:grpSp>
      <p:sp>
        <p:nvSpPr>
          <p:cNvPr id="18" name="Freeform 17"/>
          <p:cNvSpPr/>
          <p:nvPr/>
        </p:nvSpPr>
        <p:spPr bwMode="gray">
          <a:xfrm flipH="1">
            <a:off x="4914900" y="3317089"/>
            <a:ext cx="3849184" cy="589811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9" name="Oval 155"/>
          <p:cNvSpPr/>
          <p:nvPr/>
        </p:nvSpPr>
        <p:spPr>
          <a:xfrm rot="2700000">
            <a:off x="4105978" y="3397431"/>
            <a:ext cx="1224136" cy="2290176"/>
          </a:xfrm>
          <a:custGeom>
            <a:avLst/>
            <a:gdLst/>
            <a:ahLst/>
            <a:cxnLst/>
            <a:rect l="l" t="t" r="r" b="b"/>
            <a:pathLst>
              <a:path w="1224136" h="2290176">
                <a:moveTo>
                  <a:pt x="459315" y="63272"/>
                </a:moveTo>
                <a:cubicBezTo>
                  <a:pt x="498408" y="24179"/>
                  <a:pt x="552413" y="0"/>
                  <a:pt x="612067" y="0"/>
                </a:cubicBezTo>
                <a:cubicBezTo>
                  <a:pt x="731374" y="0"/>
                  <a:pt x="828091" y="96717"/>
                  <a:pt x="828091" y="216024"/>
                </a:cubicBezTo>
                <a:cubicBezTo>
                  <a:pt x="828091" y="299408"/>
                  <a:pt x="780848" y="371757"/>
                  <a:pt x="711216" y="406896"/>
                </a:cubicBezTo>
                <a:cubicBezTo>
                  <a:pt x="691916" y="450663"/>
                  <a:pt x="710516" y="496019"/>
                  <a:pt x="737802" y="533019"/>
                </a:cubicBezTo>
                <a:lnTo>
                  <a:pt x="1224136" y="533019"/>
                </a:lnTo>
                <a:lnTo>
                  <a:pt x="1224136" y="1019520"/>
                </a:lnTo>
                <a:cubicBezTo>
                  <a:pt x="1187224" y="1046736"/>
                  <a:pt x="1141992" y="1065189"/>
                  <a:pt x="1098339" y="1045939"/>
                </a:cubicBezTo>
                <a:cubicBezTo>
                  <a:pt x="1063200" y="976307"/>
                  <a:pt x="990851" y="929064"/>
                  <a:pt x="907467" y="929064"/>
                </a:cubicBezTo>
                <a:cubicBezTo>
                  <a:pt x="788160" y="929064"/>
                  <a:pt x="691443" y="1025781"/>
                  <a:pt x="691443" y="1145088"/>
                </a:cubicBezTo>
                <a:cubicBezTo>
                  <a:pt x="691443" y="1204742"/>
                  <a:pt x="715622" y="1258747"/>
                  <a:pt x="754715" y="1297840"/>
                </a:cubicBezTo>
                <a:cubicBezTo>
                  <a:pt x="793807" y="1336933"/>
                  <a:pt x="847813" y="1361112"/>
                  <a:pt x="907467" y="1361112"/>
                </a:cubicBezTo>
                <a:cubicBezTo>
                  <a:pt x="988927" y="1361112"/>
                  <a:pt x="1059856" y="1316024"/>
                  <a:pt x="1095778" y="1248955"/>
                </a:cubicBezTo>
                <a:cubicBezTo>
                  <a:pt x="1141514" y="1226580"/>
                  <a:pt x="1182162" y="1242465"/>
                  <a:pt x="1224136" y="1270694"/>
                </a:cubicBezTo>
                <a:lnTo>
                  <a:pt x="1224136" y="1757155"/>
                </a:lnTo>
                <a:lnTo>
                  <a:pt x="737829" y="1757155"/>
                </a:lnTo>
                <a:cubicBezTo>
                  <a:pt x="709519" y="1799263"/>
                  <a:pt x="693505" y="1839996"/>
                  <a:pt x="715934" y="1885841"/>
                </a:cubicBezTo>
                <a:cubicBezTo>
                  <a:pt x="783003" y="1921763"/>
                  <a:pt x="828091" y="1992692"/>
                  <a:pt x="828091" y="2074152"/>
                </a:cubicBezTo>
                <a:cubicBezTo>
                  <a:pt x="828091" y="2133806"/>
                  <a:pt x="803912" y="2187812"/>
                  <a:pt x="764819" y="2226904"/>
                </a:cubicBezTo>
                <a:cubicBezTo>
                  <a:pt x="725726" y="2265997"/>
                  <a:pt x="671721" y="2290176"/>
                  <a:pt x="612067" y="2290176"/>
                </a:cubicBezTo>
                <a:cubicBezTo>
                  <a:pt x="492760" y="2290176"/>
                  <a:pt x="396043" y="2193459"/>
                  <a:pt x="396043" y="2074152"/>
                </a:cubicBezTo>
                <a:cubicBezTo>
                  <a:pt x="396043" y="1990768"/>
                  <a:pt x="443286" y="1918419"/>
                  <a:pt x="512918" y="1883280"/>
                </a:cubicBezTo>
                <a:cubicBezTo>
                  <a:pt x="532218" y="1839512"/>
                  <a:pt x="513617" y="1794156"/>
                  <a:pt x="486331" y="1757155"/>
                </a:cubicBezTo>
                <a:lnTo>
                  <a:pt x="0" y="1757155"/>
                </a:lnTo>
                <a:lnTo>
                  <a:pt x="0" y="1267857"/>
                </a:lnTo>
                <a:cubicBezTo>
                  <a:pt x="35436" y="1241878"/>
                  <a:pt x="78596" y="1225841"/>
                  <a:pt x="120314" y="1244237"/>
                </a:cubicBezTo>
                <a:cubicBezTo>
                  <a:pt x="155453" y="1313869"/>
                  <a:pt x="227802" y="1361112"/>
                  <a:pt x="311186" y="1361112"/>
                </a:cubicBezTo>
                <a:cubicBezTo>
                  <a:pt x="430493" y="1361112"/>
                  <a:pt x="527210" y="1264395"/>
                  <a:pt x="527210" y="1145088"/>
                </a:cubicBezTo>
                <a:cubicBezTo>
                  <a:pt x="527210" y="1085434"/>
                  <a:pt x="503031" y="1031429"/>
                  <a:pt x="463938" y="992336"/>
                </a:cubicBezTo>
                <a:cubicBezTo>
                  <a:pt x="424846" y="953243"/>
                  <a:pt x="370840" y="929064"/>
                  <a:pt x="311186" y="929064"/>
                </a:cubicBezTo>
                <a:cubicBezTo>
                  <a:pt x="229726" y="929064"/>
                  <a:pt x="158797" y="974152"/>
                  <a:pt x="122875" y="1041221"/>
                </a:cubicBezTo>
                <a:cubicBezTo>
                  <a:pt x="78969" y="1062702"/>
                  <a:pt x="39751" y="1048921"/>
                  <a:pt x="0" y="1022105"/>
                </a:cubicBezTo>
                <a:lnTo>
                  <a:pt x="0" y="533019"/>
                </a:lnTo>
                <a:lnTo>
                  <a:pt x="486305" y="533019"/>
                </a:lnTo>
                <a:cubicBezTo>
                  <a:pt x="514616" y="490912"/>
                  <a:pt x="530628" y="450179"/>
                  <a:pt x="508200" y="404335"/>
                </a:cubicBezTo>
                <a:cubicBezTo>
                  <a:pt x="441131" y="368413"/>
                  <a:pt x="396043" y="297484"/>
                  <a:pt x="396043" y="216024"/>
                </a:cubicBezTo>
                <a:cubicBezTo>
                  <a:pt x="396043" y="156370"/>
                  <a:pt x="420222" y="102364"/>
                  <a:pt x="459315" y="63272"/>
                </a:cubicBezTo>
                <a:close/>
              </a:path>
            </a:pathLst>
          </a:cu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20" name="Oval 155"/>
          <p:cNvSpPr/>
          <p:nvPr/>
        </p:nvSpPr>
        <p:spPr>
          <a:xfrm rot="18900000">
            <a:off x="3240129" y="4263281"/>
            <a:ext cx="1224136" cy="2290177"/>
          </a:xfrm>
          <a:custGeom>
            <a:avLst/>
            <a:gdLst/>
            <a:ahLst/>
            <a:cxnLst/>
            <a:rect l="l" t="t" r="r" b="b"/>
            <a:pathLst>
              <a:path w="1224136" h="2290177">
                <a:moveTo>
                  <a:pt x="764821" y="63272"/>
                </a:moveTo>
                <a:cubicBezTo>
                  <a:pt x="803914" y="102365"/>
                  <a:pt x="828093" y="156370"/>
                  <a:pt x="828093" y="216024"/>
                </a:cubicBezTo>
                <a:cubicBezTo>
                  <a:pt x="828093" y="299408"/>
                  <a:pt x="780850" y="371757"/>
                  <a:pt x="711218" y="406896"/>
                </a:cubicBezTo>
                <a:cubicBezTo>
                  <a:pt x="691918" y="450664"/>
                  <a:pt x="710519" y="496020"/>
                  <a:pt x="737804" y="533020"/>
                </a:cubicBezTo>
                <a:lnTo>
                  <a:pt x="1224136" y="533020"/>
                </a:lnTo>
                <a:lnTo>
                  <a:pt x="1224136" y="1019537"/>
                </a:lnTo>
                <a:cubicBezTo>
                  <a:pt x="1187233" y="1046745"/>
                  <a:pt x="1142014" y="1065183"/>
                  <a:pt x="1098373" y="1045938"/>
                </a:cubicBezTo>
                <a:cubicBezTo>
                  <a:pt x="1063233" y="976306"/>
                  <a:pt x="990884" y="929063"/>
                  <a:pt x="907500" y="929063"/>
                </a:cubicBezTo>
                <a:cubicBezTo>
                  <a:pt x="788193" y="929063"/>
                  <a:pt x="691476" y="1025780"/>
                  <a:pt x="691476" y="1145087"/>
                </a:cubicBezTo>
                <a:cubicBezTo>
                  <a:pt x="691476" y="1204741"/>
                  <a:pt x="715655" y="1258747"/>
                  <a:pt x="754748" y="1297839"/>
                </a:cubicBezTo>
                <a:cubicBezTo>
                  <a:pt x="793841" y="1336932"/>
                  <a:pt x="847846" y="1361111"/>
                  <a:pt x="907500" y="1361111"/>
                </a:cubicBezTo>
                <a:cubicBezTo>
                  <a:pt x="988961" y="1361111"/>
                  <a:pt x="1059890" y="1316024"/>
                  <a:pt x="1095811" y="1248954"/>
                </a:cubicBezTo>
                <a:cubicBezTo>
                  <a:pt x="1141537" y="1226584"/>
                  <a:pt x="1182177" y="1242456"/>
                  <a:pt x="1224136" y="1270677"/>
                </a:cubicBezTo>
                <a:lnTo>
                  <a:pt x="1224136" y="1757156"/>
                </a:lnTo>
                <a:lnTo>
                  <a:pt x="737831" y="1757156"/>
                </a:lnTo>
                <a:cubicBezTo>
                  <a:pt x="709521" y="1799265"/>
                  <a:pt x="693508" y="1839998"/>
                  <a:pt x="715937" y="1885842"/>
                </a:cubicBezTo>
                <a:cubicBezTo>
                  <a:pt x="783005" y="1921764"/>
                  <a:pt x="828094" y="1992693"/>
                  <a:pt x="828094" y="2074153"/>
                </a:cubicBezTo>
                <a:cubicBezTo>
                  <a:pt x="828093" y="2133807"/>
                  <a:pt x="803915" y="2187813"/>
                  <a:pt x="764821" y="2226905"/>
                </a:cubicBezTo>
                <a:cubicBezTo>
                  <a:pt x="725728" y="2265998"/>
                  <a:pt x="671723" y="2290177"/>
                  <a:pt x="612070" y="2290177"/>
                </a:cubicBezTo>
                <a:cubicBezTo>
                  <a:pt x="492762" y="2290177"/>
                  <a:pt x="396045" y="2193460"/>
                  <a:pt x="396045" y="2074153"/>
                </a:cubicBezTo>
                <a:cubicBezTo>
                  <a:pt x="396045" y="1990769"/>
                  <a:pt x="443288" y="1918420"/>
                  <a:pt x="512921" y="1883281"/>
                </a:cubicBezTo>
                <a:cubicBezTo>
                  <a:pt x="532220" y="1839513"/>
                  <a:pt x="513619" y="1794157"/>
                  <a:pt x="486333" y="1757155"/>
                </a:cubicBezTo>
                <a:lnTo>
                  <a:pt x="1" y="1757156"/>
                </a:lnTo>
                <a:lnTo>
                  <a:pt x="1" y="1271298"/>
                </a:lnTo>
                <a:cubicBezTo>
                  <a:pt x="37251" y="1243817"/>
                  <a:pt x="82956" y="1224794"/>
                  <a:pt x="127049" y="1244238"/>
                </a:cubicBezTo>
                <a:cubicBezTo>
                  <a:pt x="162189" y="1313869"/>
                  <a:pt x="234538" y="1361113"/>
                  <a:pt x="317921" y="1361113"/>
                </a:cubicBezTo>
                <a:cubicBezTo>
                  <a:pt x="437228" y="1361113"/>
                  <a:pt x="533945" y="1264396"/>
                  <a:pt x="533945" y="1145089"/>
                </a:cubicBezTo>
                <a:cubicBezTo>
                  <a:pt x="533945" y="1085435"/>
                  <a:pt x="509766" y="1031429"/>
                  <a:pt x="470673" y="992337"/>
                </a:cubicBezTo>
                <a:cubicBezTo>
                  <a:pt x="431581" y="953244"/>
                  <a:pt x="377575" y="929065"/>
                  <a:pt x="317921" y="929065"/>
                </a:cubicBezTo>
                <a:cubicBezTo>
                  <a:pt x="236461" y="929065"/>
                  <a:pt x="165532" y="974153"/>
                  <a:pt x="129610" y="1041222"/>
                </a:cubicBezTo>
                <a:cubicBezTo>
                  <a:pt x="83461" y="1063799"/>
                  <a:pt x="42491" y="1047422"/>
                  <a:pt x="0" y="1018884"/>
                </a:cubicBezTo>
                <a:lnTo>
                  <a:pt x="0" y="533020"/>
                </a:lnTo>
                <a:lnTo>
                  <a:pt x="486307" y="533020"/>
                </a:lnTo>
                <a:cubicBezTo>
                  <a:pt x="514617" y="490912"/>
                  <a:pt x="530630" y="450179"/>
                  <a:pt x="508202" y="404335"/>
                </a:cubicBezTo>
                <a:cubicBezTo>
                  <a:pt x="441133" y="368413"/>
                  <a:pt x="396045" y="297484"/>
                  <a:pt x="396045" y="216024"/>
                </a:cubicBezTo>
                <a:cubicBezTo>
                  <a:pt x="396045" y="156370"/>
                  <a:pt x="420224" y="102364"/>
                  <a:pt x="459317" y="63272"/>
                </a:cubicBezTo>
                <a:cubicBezTo>
                  <a:pt x="498410" y="24179"/>
                  <a:pt x="552415" y="0"/>
                  <a:pt x="612069" y="0"/>
                </a:cubicBezTo>
                <a:cubicBezTo>
                  <a:pt x="671723" y="0"/>
                  <a:pt x="725728" y="24179"/>
                  <a:pt x="764821" y="63272"/>
                </a:cubicBezTo>
                <a:close/>
              </a:path>
            </a:pathLst>
          </a:cu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>
            <a:noAutofit/>
          </a:bodyPr>
          <a:lstStyle/>
          <a:p>
            <a:pPr algn="ctr"/>
            <a:endParaRPr lang="en-US" sz="1400" dirty="0" smtClean="0">
              <a:solidFill>
                <a:schemeClr val="tx2"/>
              </a:solidFill>
            </a:endParaRPr>
          </a:p>
        </p:txBody>
      </p:sp>
      <p:sp>
        <p:nvSpPr>
          <p:cNvPr id="21" name="Freeform 20"/>
          <p:cNvSpPr/>
          <p:nvPr/>
        </p:nvSpPr>
        <p:spPr bwMode="gray">
          <a:xfrm>
            <a:off x="370112" y="3317089"/>
            <a:ext cx="3278435" cy="1436421"/>
          </a:xfrm>
          <a:custGeom>
            <a:avLst/>
            <a:gdLst>
              <a:gd name="connsiteX0" fmla="*/ 1575303 w 1575303"/>
              <a:gd name="connsiteY0" fmla="*/ 1403288 h 1403288"/>
              <a:gd name="connsiteX1" fmla="*/ 1575303 w 1575303"/>
              <a:gd name="connsiteY1" fmla="*/ 0 h 1403288"/>
              <a:gd name="connsiteX2" fmla="*/ 0 w 1575303"/>
              <a:gd name="connsiteY2" fmla="*/ 0 h 1403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5303" h="1403288">
                <a:moveTo>
                  <a:pt x="1575303" y="1403288"/>
                </a:moveTo>
                <a:lnTo>
                  <a:pt x="1575303" y="0"/>
                </a:lnTo>
                <a:lnTo>
                  <a:pt x="0" y="0"/>
                </a:lnTo>
              </a:path>
            </a:pathLst>
          </a:custGeom>
          <a:noFill/>
          <a:ln w="9525" algn="ctr">
            <a:solidFill>
              <a:schemeClr val="accent6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2" name="Text Placeholder 8"/>
          <p:cNvSpPr txBox="1">
            <a:spLocks/>
          </p:cNvSpPr>
          <p:nvPr/>
        </p:nvSpPr>
        <p:spPr>
          <a:xfrm>
            <a:off x="4914900" y="3000186"/>
            <a:ext cx="3314700" cy="4478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64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2800" indent="-1764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800" b="1" dirty="0" smtClean="0">
                <a:solidFill>
                  <a:schemeClr val="accent3"/>
                </a:solidFill>
              </a:rPr>
              <a:t>Szervezés</a:t>
            </a:r>
            <a:endParaRPr lang="en-US" sz="1800" b="1" dirty="0">
              <a:solidFill>
                <a:schemeClr val="accent3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91638" y="2953940"/>
            <a:ext cx="18245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b="1" dirty="0" smtClean="0">
                <a:solidFill>
                  <a:schemeClr val="accent1"/>
                </a:solidFill>
              </a:rPr>
              <a:t>Gazdálkodás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73882" y="3288132"/>
            <a:ext cx="3181645" cy="22775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információbiztonsági óvintézkedések költséget jelentenek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öbblet erőforrás (megfelelés, monitorozá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.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hu-H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771491" y="3362636"/>
            <a:ext cx="3181645" cy="17851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utációs vesztesé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gszabályi nem megfelelés (pl. GDPR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zalmatlansá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hu-H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..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2218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1" grpId="0" animBg="1"/>
      <p:bldP spid="22" grpId="0"/>
      <p:bldP spid="23" grpId="0"/>
      <p:bldP spid="24" grpId="0"/>
      <p:bldP spid="2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3373821"/>
            <a:ext cx="8420100" cy="4246373"/>
            <a:chOff x="0" y="3378778"/>
            <a:chExt cx="8420100" cy="4720401"/>
          </a:xfrm>
        </p:grpSpPr>
        <p:sp>
          <p:nvSpPr>
            <p:cNvPr id="11" name="Rectangle 10"/>
            <p:cNvSpPr/>
            <p:nvPr/>
          </p:nvSpPr>
          <p:spPr>
            <a:xfrm>
              <a:off x="1213756" y="3429050"/>
              <a:ext cx="6716488" cy="46701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lang="hu-HU" sz="2200" b="1" dirty="0" smtClean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ZONBAN!</a:t>
              </a:r>
            </a:p>
            <a:p>
              <a:pPr algn="just">
                <a:spcAft>
                  <a:spcPts val="600"/>
                </a:spcAft>
                <a:buSzPct val="100000"/>
                <a:defRPr/>
              </a:pPr>
              <a:r>
                <a:rPr lang="hu-H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 rendelkezésre álló naplóállományok folyamatos ellenőrzésének folyamata és monitorozása manuálisan nehezen kivitelezhető a naplóállományok óriási méretéből adódóan. </a:t>
              </a:r>
              <a:r>
                <a:rPr lang="hu-H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egjelenik a </a:t>
              </a:r>
              <a:r>
                <a:rPr lang="hu-HU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ig Data</a:t>
              </a:r>
              <a:r>
                <a:rPr lang="hu-H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.</a:t>
              </a:r>
            </a:p>
            <a:p>
              <a:pPr algn="just">
                <a:spcAft>
                  <a:spcPts val="600"/>
                </a:spcAft>
                <a:buSzPct val="100000"/>
                <a:defRPr/>
              </a:pPr>
              <a:endParaRPr lang="hu-H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  <a:buSzPct val="100000"/>
                <a:defRPr/>
              </a:pPr>
              <a:r>
                <a:rPr lang="hu-H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Maga a rendszer ellen irányuló belső és külső támadásokkal szemben is ellenállónak kell lennie, mivel a támadók első lépésben a szervezet védelmi mechanizmusainak kiiktatását is megkísérelhetik.</a:t>
              </a:r>
            </a:p>
            <a:p>
              <a:pPr algn="just">
                <a:spcAft>
                  <a:spcPts val="600"/>
                </a:spcAft>
                <a:buSzPct val="100000"/>
                <a:defRPr/>
              </a:pPr>
              <a:endPara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just">
                <a:spcAft>
                  <a:spcPts val="600"/>
                </a:spcAft>
                <a:buSzPct val="100000"/>
                <a:defRPr/>
              </a:pPr>
              <a:endParaRPr lang="hu-HU" sz="2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2200" b="1" i="0" u="none" strike="noStrike" kern="1200" cap="none" spc="0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2200" b="1" i="0" u="none" strike="noStrike" kern="1200" cap="none" spc="0" normalizeH="0" baseline="0" dirty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Pentagon 12"/>
            <p:cNvSpPr/>
            <p:nvPr/>
          </p:nvSpPr>
          <p:spPr bwMode="gray">
            <a:xfrm flipH="1">
              <a:off x="0" y="3378778"/>
              <a:ext cx="8420100" cy="3005550"/>
            </a:xfrm>
            <a:prstGeom prst="homePlate">
              <a:avLst/>
            </a:prstGeom>
            <a:noFill/>
            <a:ln w="19050" algn="ctr">
              <a:solidFill>
                <a:srgbClr val="62B5E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0" y="1082566"/>
            <a:ext cx="8420100" cy="2135340"/>
            <a:chOff x="0" y="1379953"/>
            <a:chExt cx="8265695" cy="2003483"/>
          </a:xfrm>
        </p:grpSpPr>
        <p:sp>
          <p:nvSpPr>
            <p:cNvPr id="12" name="Pentagon 11"/>
            <p:cNvSpPr/>
            <p:nvPr/>
          </p:nvSpPr>
          <p:spPr bwMode="gray">
            <a:xfrm>
              <a:off x="0" y="1379953"/>
              <a:ext cx="8265695" cy="1987269"/>
            </a:xfrm>
            <a:prstGeom prst="homePlat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US" sz="1600" b="1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70112" y="1824071"/>
              <a:ext cx="7182378" cy="15593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hu-H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 biztonsági incidensek anomáliaként </a:t>
              </a:r>
              <a:r>
                <a:rPr lang="hu-H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értelmezendők.</a:t>
              </a:r>
            </a:p>
            <a:p>
              <a:pPr marL="285750" indent="-285750" algn="just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hu-H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 leleplezés elsődleges </a:t>
              </a:r>
              <a:r>
                <a:rPr lang="hu-H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forrása a mindenkor rendelkezésre álló információrendszerek naplóállományai, melyet auditálva az anomáliák felderíthetők.</a:t>
              </a:r>
            </a:p>
            <a:p>
              <a:pPr>
                <a:spcAft>
                  <a:spcPts val="600"/>
                </a:spcAft>
              </a:pPr>
              <a:endParaRPr lang="en-US" sz="2000" b="1" dirty="0">
                <a:solidFill>
                  <a:srgbClr val="575757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probléma-kezelés adatvagyona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0737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kirodalom-elemzés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9800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152400"/>
            <a:ext cx="8458200" cy="1143000"/>
          </a:xfrm>
        </p:spPr>
        <p:txBody>
          <a:bodyPr/>
          <a:lstStyle/>
          <a:p>
            <a:r>
              <a:rPr lang="hu-HU" alt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i az a Mesterséges Intelligencia? (Russel – Norvig, 2</a:t>
            </a:r>
            <a:r>
              <a:rPr lang="en-US" alt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09)</a:t>
            </a:r>
            <a:endParaRPr lang="hu-HU" alt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5113805"/>
              </p:ext>
            </p:extLst>
          </p:nvPr>
        </p:nvGraphicFramePr>
        <p:xfrm>
          <a:off x="806187" y="723900"/>
          <a:ext cx="7547858" cy="576347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73929">
                  <a:extLst>
                    <a:ext uri="{9D8B030D-6E8A-4147-A177-3AD203B41FA5}">
                      <a16:colId xmlns:a16="http://schemas.microsoft.com/office/drawing/2014/main" val="3532534206"/>
                    </a:ext>
                  </a:extLst>
                </a:gridCol>
                <a:gridCol w="3773929">
                  <a:extLst>
                    <a:ext uri="{9D8B030D-6E8A-4147-A177-3AD203B41FA5}">
                      <a16:colId xmlns:a16="http://schemas.microsoft.com/office/drawing/2014/main" val="3412826684"/>
                    </a:ext>
                  </a:extLst>
                </a:gridCol>
              </a:tblGrid>
              <a:tr h="407340">
                <a:tc>
                  <a:txBody>
                    <a:bodyPr/>
                    <a:lstStyle/>
                    <a:p>
                      <a:pPr algn="ctr"/>
                      <a:r>
                        <a:rPr lang="hu-HU" sz="16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mberi módon gondolkodó rendszerek</a:t>
                      </a:r>
                      <a:endParaRPr lang="hu-HU" sz="16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acionálisan gondolkodó rendszerek</a:t>
                      </a:r>
                      <a:endParaRPr lang="hu-HU" sz="16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918093"/>
                  </a:ext>
                </a:extLst>
              </a:tr>
              <a:tr h="139691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300" kern="12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ma rendelkezik az emberi intelligencia képességeivel, utánozza azt, különböző feladatokat végez, amelyekhez gondolkodás és tanulás szükséges” (Shabbir - Anwer, 2018, 1.old.)</a:t>
                      </a:r>
                    </a:p>
                    <a:p>
                      <a:pPr algn="just"/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A mentális képességek tanulmányozása számítási modellek segítségével” (Charniak - McDermott, 1985, 6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7997556"/>
                  </a:ext>
                </a:extLst>
              </a:tr>
              <a:tr h="1172003"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olyan módszerek, amelyek az emberi problémamegoldást, következtetési folyamatot, vagy heurisztikus megközelítéseket modelleznek” (Borgulya, 1998, 11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képes az alapvető logikai következtetések levonására” (Araújo, 2014, 129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229910"/>
                  </a:ext>
                </a:extLst>
              </a:tr>
              <a:tr h="44320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600" b="1" kern="1200" noProof="0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mberi módon cselekvő rendszerek</a:t>
                      </a:r>
                      <a:endParaRPr lang="hu-HU" sz="1600" b="1" kern="1200" noProof="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hu-HU" sz="1600" b="1" kern="1200" noProof="0" dirty="0" smtClean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acionálisan cselekvő rendszerek</a:t>
                      </a:r>
                      <a:endParaRPr lang="hu-HU" sz="1600" b="1" kern="1200" noProof="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43B02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408228"/>
                  </a:ext>
                </a:extLst>
              </a:tr>
              <a:tr h="1172003"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Az olyan funkciókat teljesítő gépi rendszerek létrehozásának a művészete, amelyhez az intelligencia szükséges, ha azt emberek teszik” (Kurzweil, 1990, 14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Számítási intelligencia</a:t>
                      </a:r>
                      <a:r>
                        <a:rPr lang="hu-HU" sz="1300" baseline="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az intelligens ágensek tervezésének a tanulmányozása” (Pool et al, 1998, 32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267496"/>
                  </a:ext>
                </a:extLst>
              </a:tr>
              <a:tr h="1172003"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egy olyan kiterjesztett tudományterület, mely lehetővé teszi a számítógépek részére, hogy problémákat oldjanak meg komplex biológiai folyamatok emulálásával, mint a tanulás, érvelés és önkorrekció” (Mata et al., 2018, 43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hu-HU" sz="1300" noProof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„képes automatizálni feladatokat” (Pfeffer et al., 2017, 1.old.)</a:t>
                      </a:r>
                      <a:endParaRPr lang="hu-HU" sz="1300" noProof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51816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570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2.xml><?xml version="1.0" encoding="utf-8"?>
<a:theme xmlns:a="http://schemas.openxmlformats.org/drawingml/2006/main" name="4_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17520</TotalTime>
  <Words>2340</Words>
  <Application>Microsoft Office PowerPoint</Application>
  <PresentationFormat>On-screen Show (4:3)</PresentationFormat>
  <Paragraphs>282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MS Mincho</vt:lpstr>
      <vt:lpstr>Arial</vt:lpstr>
      <vt:lpstr>Calibri</vt:lpstr>
      <vt:lpstr>Open Sans</vt:lpstr>
      <vt:lpstr>Times New Roman</vt:lpstr>
      <vt:lpstr>Verdana</vt:lpstr>
      <vt:lpstr>Wingdings 2</vt:lpstr>
      <vt:lpstr>Deloitte_US_Letter_Print Theme</vt:lpstr>
      <vt:lpstr>4_Deloitte_US_Letter_Print Theme</vt:lpstr>
      <vt:lpstr>think-cell Slide</vt:lpstr>
      <vt:lpstr>Barta Gergő Neptun kód: N787OJ </vt:lpstr>
      <vt:lpstr>Tartalom</vt:lpstr>
      <vt:lpstr>Kutatási téma bemutatása</vt:lpstr>
      <vt:lpstr>Az értekezés jelenlegi tervezett címe</vt:lpstr>
      <vt:lpstr>Téma aktualitása</vt:lpstr>
      <vt:lpstr>A téma gazdálkodás és szervezéstudományi aspektusai</vt:lpstr>
      <vt:lpstr>A probléma-kezelés adatvagyona</vt:lpstr>
      <vt:lpstr>Szakirodalom-elemzés</vt:lpstr>
      <vt:lpstr>Mi az a Mesterséges Intelligencia? (Russel – Norvig, 2009)</vt:lpstr>
      <vt:lpstr>A Mesterséges Intelligencia alkalmazási területei</vt:lpstr>
      <vt:lpstr>Az első neurális háló (McCulloch – Pitts, 1943)</vt:lpstr>
      <vt:lpstr>Felállított hipotézisek</vt:lpstr>
      <vt:lpstr>Hipotézis 1.</vt:lpstr>
      <vt:lpstr>Hipotézis 1. racionalitását alátámasztó szakirodalom</vt:lpstr>
      <vt:lpstr>Hipotézis 2.</vt:lpstr>
      <vt:lpstr>Hipotézis 2. – paraméter-optimalizálási probléma</vt:lpstr>
      <vt:lpstr>Hipotézis 3.</vt:lpstr>
      <vt:lpstr>Hipotézis 4.</vt:lpstr>
      <vt:lpstr>Hipotézisek - összefoglalás</vt:lpstr>
      <vt:lpstr>Irodalomjegyzék</vt:lpstr>
      <vt:lpstr>Irodalomjegyzék</vt:lpstr>
      <vt:lpstr>Irodalomjegyzék</vt:lpstr>
      <vt:lpstr>Irodalomjegyzék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lnar, Zsofia (HU - Budapest)</dc:creator>
  <cp:lastModifiedBy>Gergo</cp:lastModifiedBy>
  <cp:revision>1479</cp:revision>
  <cp:lastPrinted>2017-07-20T10:32:55Z</cp:lastPrinted>
  <dcterms:created xsi:type="dcterms:W3CDTF">2017-04-06T11:47:06Z</dcterms:created>
  <dcterms:modified xsi:type="dcterms:W3CDTF">2018-06-24T11:05:10Z</dcterms:modified>
</cp:coreProperties>
</file>